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6</c:v>
                </c:pt>
                <c:pt idx="40">
                  <c:v>509</c:v>
                </c:pt>
                <c:pt idx="41">
                  <c:v>516</c:v>
                </c:pt>
                <c:pt idx="42">
                  <c:v>524</c:v>
                </c:pt>
                <c:pt idx="43">
                  <c:v>557</c:v>
                </c:pt>
                <c:pt idx="44">
                  <c:v>596</c:v>
                </c:pt>
                <c:pt idx="45">
                  <c:v>640</c:v>
                </c:pt>
                <c:pt idx="46">
                  <c:v>648</c:v>
                </c:pt>
                <c:pt idx="47">
                  <c:v>686</c:v>
                </c:pt>
                <c:pt idx="48">
                  <c:v>701</c:v>
                </c:pt>
                <c:pt idx="49">
                  <c:v>722</c:v>
                </c:pt>
                <c:pt idx="50">
                  <c:v>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5</c:v>
                </c:pt>
                <c:pt idx="52">
                  <c:v>784.57780034781422</c:v>
                </c:pt>
                <c:pt idx="53">
                  <c:v>805.25814425479882</c:v>
                </c:pt>
                <c:pt idx="54">
                  <c:v>824.18597696438064</c:v>
                </c:pt>
                <c:pt idx="55">
                  <c:v>842.13561239532055</c:v>
                </c:pt>
                <c:pt idx="56">
                  <c:v>859.80376950117602</c:v>
                </c:pt>
                <c:pt idx="57">
                  <c:v>876.34694612299461</c:v>
                </c:pt>
                <c:pt idx="58">
                  <c:v>891.94882551208593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92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24</c:v>
                </c:pt>
                <c:pt idx="95">
                  <c:v>864.23301392715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72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96</c:v>
                </c:pt>
                <c:pt idx="52">
                  <c:v>826.42985741506766</c:v>
                </c:pt>
                <c:pt idx="53">
                  <c:v>854.58263757347913</c:v>
                </c:pt>
                <c:pt idx="54">
                  <c:v>881.58054805199379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34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59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5</c:v>
                </c:pt>
                <c:pt idx="73">
                  <c:v>1601.9234507262049</c:v>
                </c:pt>
                <c:pt idx="74">
                  <c:v>1627.3136564510232</c:v>
                </c:pt>
                <c:pt idx="75">
                  <c:v>1650.9782259636631</c:v>
                </c:pt>
                <c:pt idx="76">
                  <c:v>1672.8158770640275</c:v>
                </c:pt>
                <c:pt idx="77">
                  <c:v>1692.72008670428</c:v>
                </c:pt>
                <c:pt idx="78">
                  <c:v>1710.551876577591</c:v>
                </c:pt>
                <c:pt idx="79">
                  <c:v>1726.1949688739619</c:v>
                </c:pt>
                <c:pt idx="80">
                  <c:v>1739.6232706404066</c:v>
                </c:pt>
                <c:pt idx="81">
                  <c:v>1750.788933117534</c:v>
                </c:pt>
                <c:pt idx="82">
                  <c:v>1759.6370090297044</c:v>
                </c:pt>
                <c:pt idx="83">
                  <c:v>1766.1139568243145</c:v>
                </c:pt>
                <c:pt idx="84">
                  <c:v>1770.2019250764156</c:v>
                </c:pt>
                <c:pt idx="85">
                  <c:v>1771.8910267806195</c:v>
                </c:pt>
                <c:pt idx="86">
                  <c:v>1771.1825775644397</c:v>
                </c:pt>
                <c:pt idx="87">
                  <c:v>1768.0840056424859</c:v>
                </c:pt>
                <c:pt idx="88">
                  <c:v>1762.6204862582395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7</c:v>
                </c:pt>
                <c:pt idx="93">
                  <c:v>1701.2975179488431</c:v>
                </c:pt>
                <c:pt idx="94">
                  <c:v>1682.6791354108341</c:v>
                </c:pt>
                <c:pt idx="95">
                  <c:v>1662.133053598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5</c:v>
                </c:pt>
                <c:pt idx="22">
                  <c:v>5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4</c:v>
                </c:pt>
                <c:pt idx="27">
                  <c:v>4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4</c:v>
                </c:pt>
                <c:pt idx="34">
                  <c:v>4</c:v>
                </c:pt>
                <c:pt idx="35">
                  <c:v>6</c:v>
                </c:pt>
                <c:pt idx="36">
                  <c:v>7</c:v>
                </c:pt>
                <c:pt idx="37">
                  <c:v>11</c:v>
                </c:pt>
                <c:pt idx="38">
                  <c:v>13</c:v>
                </c:pt>
                <c:pt idx="39">
                  <c:v>13</c:v>
                </c:pt>
                <c:pt idx="40">
                  <c:v>16</c:v>
                </c:pt>
                <c:pt idx="41">
                  <c:v>14</c:v>
                </c:pt>
                <c:pt idx="42">
                  <c:v>16</c:v>
                </c:pt>
                <c:pt idx="43">
                  <c:v>18</c:v>
                </c:pt>
                <c:pt idx="44">
                  <c:v>21</c:v>
                </c:pt>
                <c:pt idx="45">
                  <c:v>17</c:v>
                </c:pt>
                <c:pt idx="46">
                  <c:v>19</c:v>
                </c:pt>
                <c:pt idx="47">
                  <c:v>19</c:v>
                </c:pt>
                <c:pt idx="48">
                  <c:v>18</c:v>
                </c:pt>
                <c:pt idx="49">
                  <c:v>19</c:v>
                </c:pt>
                <c:pt idx="5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595239038653311</c:v>
                </c:pt>
                <c:pt idx="43">
                  <c:v>15.375933996543814</c:v>
                </c:pt>
                <c:pt idx="44">
                  <c:v>16.130127162007877</c:v>
                </c:pt>
                <c:pt idx="45">
                  <c:v>16.853687321130892</c:v>
                </c:pt>
                <c:pt idx="46">
                  <c:v>17.574141372328917</c:v>
                </c:pt>
                <c:pt idx="47">
                  <c:v>18.301341647404421</c:v>
                </c:pt>
                <c:pt idx="48">
                  <c:v>19.006037848540906</c:v>
                </c:pt>
                <c:pt idx="49">
                  <c:v>19.691916162403778</c:v>
                </c:pt>
                <c:pt idx="50">
                  <c:v>20.327894563744529</c:v>
                </c:pt>
                <c:pt idx="51">
                  <c:v>20.942662388975322</c:v>
                </c:pt>
                <c:pt idx="52">
                  <c:v>21.530489262941721</c:v>
                </c:pt>
                <c:pt idx="53">
                  <c:v>22.109749727707502</c:v>
                </c:pt>
                <c:pt idx="54">
                  <c:v>22.648659724802933</c:v>
                </c:pt>
                <c:pt idx="55">
                  <c:v>23.153738162342659</c:v>
                </c:pt>
                <c:pt idx="56">
                  <c:v>23.645944780883408</c:v>
                </c:pt>
                <c:pt idx="57">
                  <c:v>24.105442022418604</c:v>
                </c:pt>
                <c:pt idx="58">
                  <c:v>24.541159475963411</c:v>
                </c:pt>
                <c:pt idx="59">
                  <c:v>24.944530555736115</c:v>
                </c:pt>
                <c:pt idx="60">
                  <c:v>25.325552250421467</c:v>
                </c:pt>
                <c:pt idx="61">
                  <c:v>25.680679194290494</c:v>
                </c:pt>
                <c:pt idx="62">
                  <c:v>26.003443492360265</c:v>
                </c:pt>
                <c:pt idx="63">
                  <c:v>26.304531144153685</c:v>
                </c:pt>
                <c:pt idx="64">
                  <c:v>26.58408688148625</c:v>
                </c:pt>
                <c:pt idx="65">
                  <c:v>26.833584472374358</c:v>
                </c:pt>
                <c:pt idx="66">
                  <c:v>27.053460297497274</c:v>
                </c:pt>
                <c:pt idx="67">
                  <c:v>27.247730846759747</c:v>
                </c:pt>
                <c:pt idx="68">
                  <c:v>27.419452685037683</c:v>
                </c:pt>
                <c:pt idx="69">
                  <c:v>27.56801400270793</c:v>
                </c:pt>
                <c:pt idx="70">
                  <c:v>27.69192166625033</c:v>
                </c:pt>
                <c:pt idx="71">
                  <c:v>27.793468223613786</c:v>
                </c:pt>
                <c:pt idx="72">
                  <c:v>27.86904199587908</c:v>
                </c:pt>
                <c:pt idx="73">
                  <c:v>27.919897456439458</c:v>
                </c:pt>
                <c:pt idx="74">
                  <c:v>27.943308209800325</c:v>
                </c:pt>
                <c:pt idx="75">
                  <c:v>27.943594319293155</c:v>
                </c:pt>
                <c:pt idx="76">
                  <c:v>27.921319378873729</c:v>
                </c:pt>
                <c:pt idx="77">
                  <c:v>27.876225858940082</c:v>
                </c:pt>
                <c:pt idx="78">
                  <c:v>27.807208401233016</c:v>
                </c:pt>
                <c:pt idx="79">
                  <c:v>27.713433448768853</c:v>
                </c:pt>
                <c:pt idx="80">
                  <c:v>27.596739256911441</c:v>
                </c:pt>
                <c:pt idx="81">
                  <c:v>27.457884309332229</c:v>
                </c:pt>
                <c:pt idx="82">
                  <c:v>27.297149551781054</c:v>
                </c:pt>
                <c:pt idx="83">
                  <c:v>27.114567596170502</c:v>
                </c:pt>
                <c:pt idx="84">
                  <c:v>26.91097381932029</c:v>
                </c:pt>
                <c:pt idx="85">
                  <c:v>26.687109562983551</c:v>
                </c:pt>
                <c:pt idx="86">
                  <c:v>26.443743351318552</c:v>
                </c:pt>
                <c:pt idx="87">
                  <c:v>26.18153916113944</c:v>
                </c:pt>
                <c:pt idx="88">
                  <c:v>25.901365144207759</c:v>
                </c:pt>
                <c:pt idx="89">
                  <c:v>25.603945529457839</c:v>
                </c:pt>
                <c:pt idx="90">
                  <c:v>25.289915089609622</c:v>
                </c:pt>
                <c:pt idx="91">
                  <c:v>24.96014227527121</c:v>
                </c:pt>
                <c:pt idx="92">
                  <c:v>24.615604674783189</c:v>
                </c:pt>
                <c:pt idx="93">
                  <c:v>24.257216699837819</c:v>
                </c:pt>
                <c:pt idx="94">
                  <c:v>23.885862584710704</c:v>
                </c:pt>
                <c:pt idx="95">
                  <c:v>23.50246703103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626336905924585</c:v>
                </c:pt>
                <c:pt idx="43">
                  <c:v>15.450562993484162</c:v>
                </c:pt>
                <c:pt idx="44">
                  <c:v>16.262000925569993</c:v>
                </c:pt>
                <c:pt idx="45">
                  <c:v>17.057748049109428</c:v>
                </c:pt>
                <c:pt idx="46">
                  <c:v>17.86616246843424</c:v>
                </c:pt>
                <c:pt idx="47">
                  <c:v>18.698451972269119</c:v>
                </c:pt>
                <c:pt idx="48">
                  <c:v>19.52547700253804</c:v>
                </c:pt>
                <c:pt idx="49">
                  <c:v>20.351408711379982</c:v>
                </c:pt>
                <c:pt idx="50">
                  <c:v>21.145069554492235</c:v>
                </c:pt>
                <c:pt idx="51">
                  <c:v>21.934982144888554</c:v>
                </c:pt>
                <c:pt idx="52">
                  <c:v>22.715217298739717</c:v>
                </c:pt>
                <c:pt idx="53">
                  <c:v>23.503530931033254</c:v>
                </c:pt>
                <c:pt idx="54">
                  <c:v>24.267735865016483</c:v>
                </c:pt>
                <c:pt idx="55">
                  <c:v>25.013336832520345</c:v>
                </c:pt>
                <c:pt idx="56">
                  <c:v>25.760557432061503</c:v>
                </c:pt>
                <c:pt idx="57">
                  <c:v>26.488627613236879</c:v>
                </c:pt>
                <c:pt idx="58">
                  <c:v>27.205248246280327</c:v>
                </c:pt>
                <c:pt idx="59">
                  <c:v>27.900015723048007</c:v>
                </c:pt>
                <c:pt idx="60">
                  <c:v>28.581804083916211</c:v>
                </c:pt>
                <c:pt idx="61">
                  <c:v>29.245429443734523</c:v>
                </c:pt>
                <c:pt idx="62">
                  <c:v>29.883106196663128</c:v>
                </c:pt>
                <c:pt idx="63">
                  <c:v>30.504363204649508</c:v>
                </c:pt>
                <c:pt idx="64">
                  <c:v>31.107627158789015</c:v>
                </c:pt>
                <c:pt idx="65">
                  <c:v>31.682880183700316</c:v>
                </c:pt>
                <c:pt idx="66">
                  <c:v>32.229092375067886</c:v>
                </c:pt>
                <c:pt idx="67">
                  <c:v>32.749052425625642</c:v>
                </c:pt>
                <c:pt idx="68">
                  <c:v>33.244408163718532</c:v>
                </c:pt>
                <c:pt idx="69">
                  <c:v>33.713161988433754</c:v>
                </c:pt>
                <c:pt idx="70">
                  <c:v>34.152417384507437</c:v>
                </c:pt>
                <c:pt idx="71">
                  <c:v>34.563036504848959</c:v>
                </c:pt>
                <c:pt idx="72">
                  <c:v>34.940003729226909</c:v>
                </c:pt>
                <c:pt idx="73">
                  <c:v>35.283390169824152</c:v>
                </c:pt>
                <c:pt idx="74">
                  <c:v>35.58925972156635</c:v>
                </c:pt>
                <c:pt idx="75">
                  <c:v>35.860850105498713</c:v>
                </c:pt>
                <c:pt idx="76">
                  <c:v>36.09766759607389</c:v>
                </c:pt>
                <c:pt idx="77">
                  <c:v>36.298471482514302</c:v>
                </c:pt>
                <c:pt idx="78">
                  <c:v>36.461117597088645</c:v>
                </c:pt>
                <c:pt idx="79">
                  <c:v>36.583890222556846</c:v>
                </c:pt>
                <c:pt idx="80">
                  <c:v>36.667960819265446</c:v>
                </c:pt>
                <c:pt idx="81">
                  <c:v>36.713431614355279</c:v>
                </c:pt>
                <c:pt idx="82">
                  <c:v>36.720021446781246</c:v>
                </c:pt>
                <c:pt idx="83">
                  <c:v>36.687296167027057</c:v>
                </c:pt>
                <c:pt idx="84">
                  <c:v>36.615719400678209</c:v>
                </c:pt>
                <c:pt idx="85">
                  <c:v>36.505759534157633</c:v>
                </c:pt>
                <c:pt idx="86">
                  <c:v>36.358009172924596</c:v>
                </c:pt>
                <c:pt idx="87">
                  <c:v>36.17305341570907</c:v>
                </c:pt>
                <c:pt idx="88">
                  <c:v>35.951776131882802</c:v>
                </c:pt>
                <c:pt idx="89">
                  <c:v>35.695008672642778</c:v>
                </c:pt>
                <c:pt idx="90">
                  <c:v>35.403579281413755</c:v>
                </c:pt>
                <c:pt idx="91">
                  <c:v>35.078632313080163</c:v>
                </c:pt>
                <c:pt idx="92">
                  <c:v>34.721500600697695</c:v>
                </c:pt>
                <c:pt idx="93">
                  <c:v>34.33352853773399</c:v>
                </c:pt>
                <c:pt idx="94">
                  <c:v>33.916098974826205</c:v>
                </c:pt>
                <c:pt idx="95">
                  <c:v>33.470694889552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657610968261828</c:v>
                </c:pt>
                <c:pt idx="43">
                  <c:v>15.525833145877854</c:v>
                </c:pt>
                <c:pt idx="44">
                  <c:v>16.395471279181763</c:v>
                </c:pt>
                <c:pt idx="45">
                  <c:v>17.265098610822765</c:v>
                </c:pt>
                <c:pt idx="46">
                  <c:v>18.164188466479146</c:v>
                </c:pt>
                <c:pt idx="47">
                  <c:v>19.105621321195571</c:v>
                </c:pt>
                <c:pt idx="48">
                  <c:v>20.060706692845386</c:v>
                </c:pt>
                <c:pt idx="49">
                  <c:v>21.034458160214655</c:v>
                </c:pt>
                <c:pt idx="50">
                  <c:v>21.99596726530601</c:v>
                </c:pt>
                <c:pt idx="51">
                  <c:v>22.973955037365933</c:v>
                </c:pt>
                <c:pt idx="52">
                  <c:v>23.96265075157066</c:v>
                </c:pt>
                <c:pt idx="53">
                  <c:v>24.979529375734355</c:v>
                </c:pt>
                <c:pt idx="54">
                  <c:v>25.992311470313645</c:v>
                </c:pt>
                <c:pt idx="55">
                  <c:v>27.00576019574758</c:v>
                </c:pt>
                <c:pt idx="56">
                  <c:v>28.039596331887491</c:v>
                </c:pt>
                <c:pt idx="57">
                  <c:v>29.072300950023717</c:v>
                </c:pt>
                <c:pt idx="58">
                  <c:v>30.110475373547345</c:v>
                </c:pt>
                <c:pt idx="59">
                  <c:v>31.141945047170495</c:v>
                </c:pt>
                <c:pt idx="60">
                  <c:v>32.174459327657679</c:v>
                </c:pt>
                <c:pt idx="61">
                  <c:v>33.201119142903231</c:v>
                </c:pt>
                <c:pt idx="62">
                  <c:v>34.212667893921989</c:v>
                </c:pt>
                <c:pt idx="63">
                  <c:v>35.217247976432546</c:v>
                </c:pt>
                <c:pt idx="64">
                  <c:v>36.211260443268969</c:v>
                </c:pt>
                <c:pt idx="65">
                  <c:v>37.182818788660043</c:v>
                </c:pt>
                <c:pt idx="66">
                  <c:v>38.128982970418427</c:v>
                </c:pt>
                <c:pt idx="67">
                  <c:v>39.050802005275656</c:v>
                </c:pt>
                <c:pt idx="68">
                  <c:v>39.947940773651325</c:v>
                </c:pt>
                <c:pt idx="69">
                  <c:v>40.816386023973926</c:v>
                </c:pt>
                <c:pt idx="70">
                  <c:v>41.651159927197909</c:v>
                </c:pt>
                <c:pt idx="71">
                  <c:v>42.450975818100019</c:v>
                </c:pt>
                <c:pt idx="72">
                  <c:v>43.208666883135422</c:v>
                </c:pt>
                <c:pt idx="73">
                  <c:v>43.922355177522633</c:v>
                </c:pt>
                <c:pt idx="74">
                  <c:v>44.58611937682528</c:v>
                </c:pt>
                <c:pt idx="75">
                  <c:v>45.201339810145875</c:v>
                </c:pt>
                <c:pt idx="76">
                  <c:v>45.765701569188167</c:v>
                </c:pt>
                <c:pt idx="77">
                  <c:v>46.276238490735537</c:v>
                </c:pt>
                <c:pt idx="78">
                  <c:v>46.729056502655908</c:v>
                </c:pt>
                <c:pt idx="79">
                  <c:v>47.120887872959145</c:v>
                </c:pt>
                <c:pt idx="80">
                  <c:v>47.451618439450868</c:v>
                </c:pt>
                <c:pt idx="81">
                  <c:v>47.720134074511407</c:v>
                </c:pt>
                <c:pt idx="82">
                  <c:v>47.925097080519862</c:v>
                </c:pt>
                <c:pt idx="83">
                  <c:v>48.065184144266013</c:v>
                </c:pt>
                <c:pt idx="84">
                  <c:v>48.140141999334062</c:v>
                </c:pt>
                <c:pt idx="85">
                  <c:v>48.149902084599681</c:v>
                </c:pt>
                <c:pt idx="86">
                  <c:v>48.094700964027368</c:v>
                </c:pt>
                <c:pt idx="87">
                  <c:v>47.974950188063389</c:v>
                </c:pt>
                <c:pt idx="88">
                  <c:v>47.791540359564664</c:v>
                </c:pt>
                <c:pt idx="89">
                  <c:v>47.54548548797522</c:v>
                </c:pt>
                <c:pt idx="90">
                  <c:v>47.237965008250995</c:v>
                </c:pt>
                <c:pt idx="91">
                  <c:v>46.87063587375652</c:v>
                </c:pt>
                <c:pt idx="92">
                  <c:v>46.445497458823603</c:v>
                </c:pt>
                <c:pt idx="93">
                  <c:v>45.964704819664064</c:v>
                </c:pt>
                <c:pt idx="94">
                  <c:v>45.430583422138128</c:v>
                </c:pt>
                <c:pt idx="95">
                  <c:v>44.845678357978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6</c:v>
                </c:pt>
                <c:pt idx="27">
                  <c:v>5</c:v>
                </c:pt>
                <c:pt idx="28">
                  <c:v>6</c:v>
                </c:pt>
                <c:pt idx="29">
                  <c:v>5</c:v>
                </c:pt>
                <c:pt idx="30">
                  <c:v>4</c:v>
                </c:pt>
                <c:pt idx="31">
                  <c:v>5</c:v>
                </c:pt>
                <c:pt idx="32">
                  <c:v>5</c:v>
                </c:pt>
                <c:pt idx="33">
                  <c:v>6</c:v>
                </c:pt>
                <c:pt idx="34">
                  <c:v>4</c:v>
                </c:pt>
                <c:pt idx="35">
                  <c:v>6</c:v>
                </c:pt>
                <c:pt idx="36">
                  <c:v>6</c:v>
                </c:pt>
                <c:pt idx="37">
                  <c:v>8</c:v>
                </c:pt>
                <c:pt idx="38">
                  <c:v>9</c:v>
                </c:pt>
                <c:pt idx="39">
                  <c:v>10</c:v>
                </c:pt>
                <c:pt idx="40">
                  <c:v>12</c:v>
                </c:pt>
                <c:pt idx="41">
                  <c:v>13</c:v>
                </c:pt>
                <c:pt idx="42">
                  <c:v>13</c:v>
                </c:pt>
                <c:pt idx="43">
                  <c:v>13</c:v>
                </c:pt>
                <c:pt idx="44">
                  <c:v>16</c:v>
                </c:pt>
                <c:pt idx="45">
                  <c:v>18</c:v>
                </c:pt>
                <c:pt idx="46">
                  <c:v>18</c:v>
                </c:pt>
                <c:pt idx="47">
                  <c:v>19</c:v>
                </c:pt>
                <c:pt idx="48">
                  <c:v>20</c:v>
                </c:pt>
                <c:pt idx="49">
                  <c:v>21</c:v>
                </c:pt>
                <c:pt idx="5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080797219631158</c:v>
                </c:pt>
                <c:pt idx="43">
                  <c:v>14.823751329174719</c:v>
                </c:pt>
                <c:pt idx="44">
                  <c:v>15.542557969529902</c:v>
                </c:pt>
                <c:pt idx="45">
                  <c:v>16.228191779182055</c:v>
                </c:pt>
                <c:pt idx="46">
                  <c:v>16.908917661674007</c:v>
                </c:pt>
                <c:pt idx="47">
                  <c:v>17.594743727941577</c:v>
                </c:pt>
                <c:pt idx="48">
                  <c:v>18.262614581064817</c:v>
                </c:pt>
                <c:pt idx="49">
                  <c:v>18.911151321910253</c:v>
                </c:pt>
                <c:pt idx="50">
                  <c:v>19.507211877193697</c:v>
                </c:pt>
                <c:pt idx="51">
                  <c:v>20.086583029941394</c:v>
                </c:pt>
                <c:pt idx="52">
                  <c:v>20.643624494644278</c:v>
                </c:pt>
                <c:pt idx="53">
                  <c:v>21.193303538708044</c:v>
                </c:pt>
                <c:pt idx="54">
                  <c:v>21.700523811865935</c:v>
                </c:pt>
                <c:pt idx="55">
                  <c:v>22.178709061589089</c:v>
                </c:pt>
                <c:pt idx="56">
                  <c:v>22.647059468092227</c:v>
                </c:pt>
                <c:pt idx="57">
                  <c:v>23.084942687625187</c:v>
                </c:pt>
                <c:pt idx="58">
                  <c:v>23.49902661028068</c:v>
                </c:pt>
                <c:pt idx="59">
                  <c:v>23.884079351327955</c:v>
                </c:pt>
                <c:pt idx="60">
                  <c:v>24.251789772058828</c:v>
                </c:pt>
                <c:pt idx="61">
                  <c:v>24.592705218161441</c:v>
                </c:pt>
                <c:pt idx="62">
                  <c:v>24.903660919993136</c:v>
                </c:pt>
                <c:pt idx="63">
                  <c:v>25.193507188530809</c:v>
                </c:pt>
                <c:pt idx="64">
                  <c:v>25.464736685548619</c:v>
                </c:pt>
                <c:pt idx="65">
                  <c:v>25.70701390633964</c:v>
                </c:pt>
                <c:pt idx="66">
                  <c:v>25.921458207426674</c:v>
                </c:pt>
                <c:pt idx="67">
                  <c:v>26.112315251847104</c:v>
                </c:pt>
                <c:pt idx="68">
                  <c:v>26.281791088906608</c:v>
                </c:pt>
                <c:pt idx="69">
                  <c:v>26.428901932520695</c:v>
                </c:pt>
                <c:pt idx="70">
                  <c:v>26.55231071881245</c:v>
                </c:pt>
                <c:pt idx="71">
                  <c:v>26.655108126477863</c:v>
                </c:pt>
                <c:pt idx="72">
                  <c:v>26.733355829386564</c:v>
                </c:pt>
                <c:pt idx="73">
                  <c:v>26.787863103870688</c:v>
                </c:pt>
                <c:pt idx="74">
                  <c:v>26.816057104638997</c:v>
                </c:pt>
                <c:pt idx="75">
                  <c:v>26.822014800640488</c:v>
                </c:pt>
                <c:pt idx="76">
                  <c:v>26.806111161533437</c:v>
                </c:pt>
                <c:pt idx="77">
                  <c:v>26.768187099226019</c:v>
                </c:pt>
                <c:pt idx="78">
                  <c:v>26.707262370992353</c:v>
                </c:pt>
                <c:pt idx="79">
                  <c:v>26.622635876211127</c:v>
                </c:pt>
                <c:pt idx="80">
                  <c:v>26.515869882005099</c:v>
                </c:pt>
                <c:pt idx="81">
                  <c:v>26.387671715395264</c:v>
                </c:pt>
                <c:pt idx="82">
                  <c:v>26.238306528799917</c:v>
                </c:pt>
                <c:pt idx="83">
                  <c:v>26.067814052125037</c:v>
                </c:pt>
                <c:pt idx="84">
                  <c:v>25.876959931985454</c:v>
                </c:pt>
                <c:pt idx="85">
                  <c:v>25.666436474042037</c:v>
                </c:pt>
                <c:pt idx="86">
                  <c:v>25.436962312943976</c:v>
                </c:pt>
                <c:pt idx="87">
                  <c:v>25.189150920565758</c:v>
                </c:pt>
                <c:pt idx="88">
                  <c:v>24.923813402684651</c:v>
                </c:pt>
                <c:pt idx="89">
                  <c:v>24.641644673969672</c:v>
                </c:pt>
                <c:pt idx="90">
                  <c:v>24.343272158190317</c:v>
                </c:pt>
                <c:pt idx="91">
                  <c:v>24.029518091120892</c:v>
                </c:pt>
                <c:pt idx="92">
                  <c:v>23.701303639472009</c:v>
                </c:pt>
                <c:pt idx="93">
                  <c:v>23.359500065596357</c:v>
                </c:pt>
                <c:pt idx="94">
                  <c:v>23.00495612912119</c:v>
                </c:pt>
                <c:pt idx="95">
                  <c:v>22.638557251597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109921838809672</c:v>
                </c:pt>
                <c:pt idx="43">
                  <c:v>14.893650717679485</c:v>
                </c:pt>
                <c:pt idx="44">
                  <c:v>15.666175888442899</c:v>
                </c:pt>
                <c:pt idx="45">
                  <c:v>16.419669049066773</c:v>
                </c:pt>
                <c:pt idx="46">
                  <c:v>17.183188173458831</c:v>
                </c:pt>
                <c:pt idx="47">
                  <c:v>17.968018286435004</c:v>
                </c:pt>
                <c:pt idx="48">
                  <c:v>18.751267889728616</c:v>
                </c:pt>
                <c:pt idx="49">
                  <c:v>19.532066005467669</c:v>
                </c:pt>
                <c:pt idx="50">
                  <c:v>20.277201607713046</c:v>
                </c:pt>
                <c:pt idx="51">
                  <c:v>21.022424783370116</c:v>
                </c:pt>
                <c:pt idx="52">
                  <c:v>21.761914238927641</c:v>
                </c:pt>
                <c:pt idx="53">
                  <c:v>22.510090479834826</c:v>
                </c:pt>
                <c:pt idx="54">
                  <c:v>23.231458031904111</c:v>
                </c:pt>
                <c:pt idx="55">
                  <c:v>23.938558478633155</c:v>
                </c:pt>
                <c:pt idx="56">
                  <c:v>24.649908490989631</c:v>
                </c:pt>
                <c:pt idx="57">
                  <c:v>25.34396517753914</c:v>
                </c:pt>
                <c:pt idx="58">
                  <c:v>26.026276500124482</c:v>
                </c:pt>
                <c:pt idx="59">
                  <c:v>26.689915984456981</c:v>
                </c:pt>
                <c:pt idx="60">
                  <c:v>27.345552216079984</c:v>
                </c:pt>
                <c:pt idx="61">
                  <c:v>27.982134023027232</c:v>
                </c:pt>
                <c:pt idx="62">
                  <c:v>28.595256902116869</c:v>
                </c:pt>
                <c:pt idx="63">
                  <c:v>29.192636326075011</c:v>
                </c:pt>
                <c:pt idx="64">
                  <c:v>29.775190417476463</c:v>
                </c:pt>
                <c:pt idx="65">
                  <c:v>30.331122786181659</c:v>
                </c:pt>
                <c:pt idx="66">
                  <c:v>30.860164756630724</c:v>
                </c:pt>
                <c:pt idx="67">
                  <c:v>31.365368352409597</c:v>
                </c:pt>
                <c:pt idx="68">
                  <c:v>31.847582041589014</c:v>
                </c:pt>
                <c:pt idx="69">
                  <c:v>32.3044833087109</c:v>
                </c:pt>
                <c:pt idx="70">
                  <c:v>32.73336783729625</c:v>
                </c:pt>
                <c:pt idx="71">
                  <c:v>33.135960298817849</c:v>
                </c:pt>
                <c:pt idx="72">
                  <c:v>33.506953724177848</c:v>
                </c:pt>
                <c:pt idx="73">
                  <c:v>33.845989597187454</c:v>
                </c:pt>
                <c:pt idx="74">
                  <c:v>34.149308556467901</c:v>
                </c:pt>
                <c:pt idx="75">
                  <c:v>34.419931920695603</c:v>
                </c:pt>
                <c:pt idx="76">
                  <c:v>34.65719448995393</c:v>
                </c:pt>
                <c:pt idx="77">
                  <c:v>34.859966383175944</c:v>
                </c:pt>
                <c:pt idx="78">
                  <c:v>35.026257668537724</c:v>
                </c:pt>
                <c:pt idx="79">
                  <c:v>35.154498826563604</c:v>
                </c:pt>
                <c:pt idx="80">
                  <c:v>35.245575248796683</c:v>
                </c:pt>
                <c:pt idx="81">
                  <c:v>35.299536402606506</c:v>
                </c:pt>
                <c:pt idx="82">
                  <c:v>35.316079829122778</c:v>
                </c:pt>
                <c:pt idx="83">
                  <c:v>35.294769280379015</c:v>
                </c:pt>
                <c:pt idx="84">
                  <c:v>35.235985859952194</c:v>
                </c:pt>
                <c:pt idx="85">
                  <c:v>35.140132235385593</c:v>
                </c:pt>
                <c:pt idx="86">
                  <c:v>35.007731034317217</c:v>
                </c:pt>
                <c:pt idx="87">
                  <c:v>34.839293453840625</c:v>
                </c:pt>
                <c:pt idx="88">
                  <c:v>34.635619851199749</c:v>
                </c:pt>
                <c:pt idx="89">
                  <c:v>34.397483080321692</c:v>
                </c:pt>
                <c:pt idx="90">
                  <c:v>34.125672759016595</c:v>
                </c:pt>
                <c:pt idx="91">
                  <c:v>33.821253976604616</c:v>
                </c:pt>
                <c:pt idx="92">
                  <c:v>33.485468395501101</c:v>
                </c:pt>
                <c:pt idx="93">
                  <c:v>33.119581050922591</c:v>
                </c:pt>
                <c:pt idx="94">
                  <c:v>32.724902089332858</c:v>
                </c:pt>
                <c:pt idx="95">
                  <c:v>32.302837766436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139211570025266</c:v>
                </c:pt>
                <c:pt idx="43">
                  <c:v>14.964150702706835</c:v>
                </c:pt>
                <c:pt idx="44">
                  <c:v>15.791289604021747</c:v>
                </c:pt>
                <c:pt idx="45">
                  <c:v>16.614229605082684</c:v>
                </c:pt>
                <c:pt idx="46">
                  <c:v>17.463089533069994</c:v>
                </c:pt>
                <c:pt idx="47">
                  <c:v>18.350731254117363</c:v>
                </c:pt>
                <c:pt idx="48">
                  <c:v>19.254748114026658</c:v>
                </c:pt>
                <c:pt idx="49">
                  <c:v>20.175117094791265</c:v>
                </c:pt>
                <c:pt idx="50">
                  <c:v>21.078906245537773</c:v>
                </c:pt>
                <c:pt idx="51">
                  <c:v>22.002179473057716</c:v>
                </c:pt>
                <c:pt idx="52">
                  <c:v>22.939278895620674</c:v>
                </c:pt>
                <c:pt idx="53">
                  <c:v>23.904405674329155</c:v>
                </c:pt>
                <c:pt idx="54">
                  <c:v>24.861968430180823</c:v>
                </c:pt>
                <c:pt idx="55">
                  <c:v>25.82389531507998</c:v>
                </c:pt>
                <c:pt idx="56">
                  <c:v>26.808251932619321</c:v>
                </c:pt>
                <c:pt idx="57">
                  <c:v>27.792770892406601</c:v>
                </c:pt>
                <c:pt idx="58">
                  <c:v>28.782015418680004</c:v>
                </c:pt>
                <c:pt idx="59">
                  <c:v>29.767440364033376</c:v>
                </c:pt>
                <c:pt idx="60">
                  <c:v>30.75870617436922</c:v>
                </c:pt>
                <c:pt idx="61">
                  <c:v>31.74310404259915</c:v>
                </c:pt>
                <c:pt idx="62">
                  <c:v>32.714857866941344</c:v>
                </c:pt>
                <c:pt idx="63">
                  <c:v>33.680343514200011</c:v>
                </c:pt>
                <c:pt idx="64">
                  <c:v>34.638625004631145</c:v>
                </c:pt>
                <c:pt idx="65">
                  <c:v>35.576098131231603</c:v>
                </c:pt>
                <c:pt idx="66">
                  <c:v>36.490694364356472</c:v>
                </c:pt>
                <c:pt idx="67">
                  <c:v>37.383793816798473</c:v>
                </c:pt>
                <c:pt idx="68">
                  <c:v>38.254347809563384</c:v>
                </c:pt>
                <c:pt idx="69">
                  <c:v>39.098100403420446</c:v>
                </c:pt>
                <c:pt idx="70">
                  <c:v>39.910337187249254</c:v>
                </c:pt>
                <c:pt idx="71">
                  <c:v>40.690733122373963</c:v>
                </c:pt>
                <c:pt idx="72">
                  <c:v>41.431898812438526</c:v>
                </c:pt>
                <c:pt idx="73">
                  <c:v>42.131573880296934</c:v>
                </c:pt>
                <c:pt idx="74">
                  <c:v>42.784066301315086</c:v>
                </c:pt>
                <c:pt idx="75">
                  <c:v>43.390593379761313</c:v>
                </c:pt>
                <c:pt idx="76">
                  <c:v>43.948709357120713</c:v>
                </c:pt>
                <c:pt idx="77">
                  <c:v>44.455591162872295</c:v>
                </c:pt>
                <c:pt idx="78">
                  <c:v>44.90754418809712</c:v>
                </c:pt>
                <c:pt idx="79">
                  <c:v>45.301472713436965</c:v>
                </c:pt>
                <c:pt idx="80">
                  <c:v>45.636974166084258</c:v>
                </c:pt>
                <c:pt idx="81">
                  <c:v>45.912883426106845</c:v>
                </c:pt>
                <c:pt idx="82">
                  <c:v>46.127835024206114</c:v>
                </c:pt>
                <c:pt idx="83">
                  <c:v>46.280489064127536</c:v>
                </c:pt>
                <c:pt idx="84">
                  <c:v>46.370487482144959</c:v>
                </c:pt>
                <c:pt idx="85">
                  <c:v>46.397665798924635</c:v>
                </c:pt>
                <c:pt idx="86">
                  <c:v>46.362153211408462</c:v>
                </c:pt>
                <c:pt idx="87">
                  <c:v>46.264243167335849</c:v>
                </c:pt>
                <c:pt idx="88">
                  <c:v>46.1046923125338</c:v>
                </c:pt>
                <c:pt idx="89">
                  <c:v>45.884400216051617</c:v>
                </c:pt>
                <c:pt idx="90">
                  <c:v>45.60444730952041</c:v>
                </c:pt>
                <c:pt idx="91">
                  <c:v>45.266347205420175</c:v>
                </c:pt>
                <c:pt idx="92">
                  <c:v>44.871940864379866</c:v>
                </c:pt>
                <c:pt idx="93">
                  <c:v>44.423234260808847</c:v>
                </c:pt>
                <c:pt idx="94">
                  <c:v>43.92240885480048</c:v>
                </c:pt>
                <c:pt idx="95">
                  <c:v>43.371860890524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6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9</c:v>
                </c:pt>
                <c:pt idx="5">
                  <c:v>12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8</c:v>
                </c:pt>
                <c:pt idx="12">
                  <c:v>17</c:v>
                </c:pt>
                <c:pt idx="13">
                  <c:v>16</c:v>
                </c:pt>
                <c:pt idx="14">
                  <c:v>17</c:v>
                </c:pt>
                <c:pt idx="15">
                  <c:v>17</c:v>
                </c:pt>
                <c:pt idx="16">
                  <c:v>21</c:v>
                </c:pt>
                <c:pt idx="17">
                  <c:v>24</c:v>
                </c:pt>
                <c:pt idx="18">
                  <c:v>28</c:v>
                </c:pt>
                <c:pt idx="19">
                  <c:v>27</c:v>
                </c:pt>
                <c:pt idx="20">
                  <c:v>26</c:v>
                </c:pt>
                <c:pt idx="21">
                  <c:v>24</c:v>
                </c:pt>
                <c:pt idx="22">
                  <c:v>27</c:v>
                </c:pt>
                <c:pt idx="23">
                  <c:v>27</c:v>
                </c:pt>
                <c:pt idx="24">
                  <c:v>32</c:v>
                </c:pt>
                <c:pt idx="25">
                  <c:v>36</c:v>
                </c:pt>
                <c:pt idx="26">
                  <c:v>37</c:v>
                </c:pt>
                <c:pt idx="27">
                  <c:v>38</c:v>
                </c:pt>
                <c:pt idx="28">
                  <c:v>48</c:v>
                </c:pt>
                <c:pt idx="29">
                  <c:v>54</c:v>
                </c:pt>
                <c:pt idx="30">
                  <c:v>55</c:v>
                </c:pt>
                <c:pt idx="31">
                  <c:v>58</c:v>
                </c:pt>
                <c:pt idx="32">
                  <c:v>66</c:v>
                </c:pt>
                <c:pt idx="33">
                  <c:v>71</c:v>
                </c:pt>
                <c:pt idx="34">
                  <c:v>68</c:v>
                </c:pt>
                <c:pt idx="35">
                  <c:v>71</c:v>
                </c:pt>
                <c:pt idx="36">
                  <c:v>76</c:v>
                </c:pt>
                <c:pt idx="37">
                  <c:v>80</c:v>
                </c:pt>
                <c:pt idx="38">
                  <c:v>80</c:v>
                </c:pt>
                <c:pt idx="39">
                  <c:v>87</c:v>
                </c:pt>
                <c:pt idx="40">
                  <c:v>92</c:v>
                </c:pt>
                <c:pt idx="41">
                  <c:v>99</c:v>
                </c:pt>
                <c:pt idx="42">
                  <c:v>97</c:v>
                </c:pt>
                <c:pt idx="43">
                  <c:v>105</c:v>
                </c:pt>
                <c:pt idx="44">
                  <c:v>113</c:v>
                </c:pt>
                <c:pt idx="45">
                  <c:v>118</c:v>
                </c:pt>
                <c:pt idx="46">
                  <c:v>115</c:v>
                </c:pt>
                <c:pt idx="47">
                  <c:v>116</c:v>
                </c:pt>
                <c:pt idx="48">
                  <c:v>119</c:v>
                </c:pt>
                <c:pt idx="49">
                  <c:v>122</c:v>
                </c:pt>
                <c:pt idx="50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3.876603336956023</c:v>
                </c:pt>
                <c:pt idx="43">
                  <c:v>98.751647630488407</c:v>
                </c:pt>
                <c:pt idx="44">
                  <c:v>103.47656784201969</c:v>
                </c:pt>
                <c:pt idx="45">
                  <c:v>107.95262931738625</c:v>
                </c:pt>
                <c:pt idx="46">
                  <c:v>112.38134501439555</c:v>
                </c:pt>
                <c:pt idx="47">
                  <c:v>116.83328810647842</c:v>
                </c:pt>
                <c:pt idx="48">
                  <c:v>121.19426092955854</c:v>
                </c:pt>
                <c:pt idx="49">
                  <c:v>125.41730814759049</c:v>
                </c:pt>
                <c:pt idx="50">
                  <c:v>129.25732607573764</c:v>
                </c:pt>
                <c:pt idx="51">
                  <c:v>133.0149498910061</c:v>
                </c:pt>
                <c:pt idx="52">
                  <c:v>136.65171969097514</c:v>
                </c:pt>
                <c:pt idx="53">
                  <c:v>140.246306435012</c:v>
                </c:pt>
                <c:pt idx="54">
                  <c:v>143.53080618316173</c:v>
                </c:pt>
                <c:pt idx="55">
                  <c:v>146.64930672745589</c:v>
                </c:pt>
                <c:pt idx="56">
                  <c:v>149.72200483821126</c:v>
                </c:pt>
                <c:pt idx="57">
                  <c:v>152.59991314604946</c:v>
                </c:pt>
                <c:pt idx="58">
                  <c:v>155.31258896949288</c:v>
                </c:pt>
                <c:pt idx="59">
                  <c:v>157.84835699571573</c:v>
                </c:pt>
                <c:pt idx="60">
                  <c:v>160.30078865367528</c:v>
                </c:pt>
                <c:pt idx="61">
                  <c:v>162.56070630863286</c:v>
                </c:pt>
                <c:pt idx="62">
                  <c:v>164.63054050415207</c:v>
                </c:pt>
                <c:pt idx="63">
                  <c:v>166.5581321450282</c:v>
                </c:pt>
                <c:pt idx="64">
                  <c:v>168.37810442491508</c:v>
                </c:pt>
                <c:pt idx="65">
                  <c:v>170.00540709245371</c:v>
                </c:pt>
                <c:pt idx="66">
                  <c:v>171.45284649284082</c:v>
                </c:pt>
                <c:pt idx="67">
                  <c:v>172.75156524698764</c:v>
                </c:pt>
                <c:pt idx="68">
                  <c:v>173.91058756266028</c:v>
                </c:pt>
                <c:pt idx="69">
                  <c:v>174.9203432949121</c:v>
                </c:pt>
                <c:pt idx="70">
                  <c:v>175.77270974114791</c:v>
                </c:pt>
                <c:pt idx="71">
                  <c:v>176.49501777830923</c:v>
                </c:pt>
                <c:pt idx="72">
                  <c:v>177.05753713681929</c:v>
                </c:pt>
                <c:pt idx="73">
                  <c:v>177.46259508674984</c:v>
                </c:pt>
                <c:pt idx="74">
                  <c:v>177.6934780879626</c:v>
                </c:pt>
                <c:pt idx="75">
                  <c:v>177.7766723152472</c:v>
                </c:pt>
                <c:pt idx="76">
                  <c:v>177.71338639915498</c:v>
                </c:pt>
                <c:pt idx="77">
                  <c:v>177.50324348676335</c:v>
                </c:pt>
                <c:pt idx="78">
                  <c:v>177.14036753262849</c:v>
                </c:pt>
                <c:pt idx="79">
                  <c:v>176.6208730048366</c:v>
                </c:pt>
                <c:pt idx="80">
                  <c:v>175.95355953627396</c:v>
                </c:pt>
                <c:pt idx="81">
                  <c:v>175.14295600187128</c:v>
                </c:pt>
                <c:pt idx="82">
                  <c:v>174.19078509719014</c:v>
                </c:pt>
                <c:pt idx="83">
                  <c:v>173.09737496132573</c:v>
                </c:pt>
                <c:pt idx="84">
                  <c:v>171.86752190495952</c:v>
                </c:pt>
                <c:pt idx="85">
                  <c:v>170.50566625833056</c:v>
                </c:pt>
                <c:pt idx="86">
                  <c:v>169.01642468794603</c:v>
                </c:pt>
                <c:pt idx="87">
                  <c:v>167.40367983509731</c:v>
                </c:pt>
                <c:pt idx="88">
                  <c:v>165.67263698141335</c:v>
                </c:pt>
                <c:pt idx="89">
                  <c:v>163.82790014104646</c:v>
                </c:pt>
                <c:pt idx="90">
                  <c:v>161.87376731173342</c:v>
                </c:pt>
                <c:pt idx="91">
                  <c:v>159.81560093577505</c:v>
                </c:pt>
                <c:pt idx="92">
                  <c:v>157.6593743629245</c:v>
                </c:pt>
                <c:pt idx="93">
                  <c:v>155.4108127473167</c:v>
                </c:pt>
                <c:pt idx="94">
                  <c:v>153.07554180291055</c:v>
                </c:pt>
                <c:pt idx="95">
                  <c:v>150.65941346467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4.064065478705942</c:v>
                </c:pt>
                <c:pt idx="43">
                  <c:v>99.201604541053314</c:v>
                </c:pt>
                <c:pt idx="44">
                  <c:v>104.27312324393662</c:v>
                </c:pt>
                <c:pt idx="45">
                  <c:v>109.1879580278146</c:v>
                </c:pt>
                <c:pt idx="46">
                  <c:v>114.15284162229671</c:v>
                </c:pt>
                <c:pt idx="47">
                  <c:v>119.24662496058326</c:v>
                </c:pt>
                <c:pt idx="48">
                  <c:v>124.35663971133756</c:v>
                </c:pt>
                <c:pt idx="49">
                  <c:v>129.43962329256627</c:v>
                </c:pt>
                <c:pt idx="50">
                  <c:v>134.25018982835195</c:v>
                </c:pt>
                <c:pt idx="51">
                  <c:v>139.08967980390659</c:v>
                </c:pt>
                <c:pt idx="52">
                  <c:v>143.91850912356233</c:v>
                </c:pt>
                <c:pt idx="53">
                  <c:v>148.81208653206753</c:v>
                </c:pt>
                <c:pt idx="54">
                  <c:v>153.49976897472845</c:v>
                </c:pt>
                <c:pt idx="55">
                  <c:v>158.12049945238138</c:v>
                </c:pt>
                <c:pt idx="56">
                  <c:v>162.79012197389861</c:v>
                </c:pt>
                <c:pt idx="57">
                  <c:v>167.3534949733799</c:v>
                </c:pt>
                <c:pt idx="58">
                  <c:v>171.83321025724524</c:v>
                </c:pt>
                <c:pt idx="59">
                  <c:v>176.2068890965752</c:v>
                </c:pt>
                <c:pt idx="60">
                  <c:v>180.56178350455346</c:v>
                </c:pt>
                <c:pt idx="61">
                  <c:v>184.7779227085889</c:v>
                </c:pt>
                <c:pt idx="62">
                  <c:v>188.8497132250078</c:v>
                </c:pt>
                <c:pt idx="63">
                  <c:v>192.81728854450893</c:v>
                </c:pt>
                <c:pt idx="64">
                  <c:v>196.70540908664691</c:v>
                </c:pt>
                <c:pt idx="65">
                  <c:v>200.419117937485</c:v>
                </c:pt>
                <c:pt idx="66">
                  <c:v>203.96217074760719</c:v>
                </c:pt>
                <c:pt idx="67">
                  <c:v>207.35768237618197</c:v>
                </c:pt>
                <c:pt idx="68">
                  <c:v>210.60563753071017</c:v>
                </c:pt>
                <c:pt idx="69">
                  <c:v>213.68752711837197</c:v>
                </c:pt>
                <c:pt idx="70">
                  <c:v>216.58601092629533</c:v>
                </c:pt>
                <c:pt idx="71">
                  <c:v>219.31941956476749</c:v>
                </c:pt>
                <c:pt idx="72">
                  <c:v>221.84878947647235</c:v>
                </c:pt>
                <c:pt idx="73">
                  <c:v>224.16846223827946</c:v>
                </c:pt>
                <c:pt idx="74">
                  <c:v>226.25366502327003</c:v>
                </c:pt>
                <c:pt idx="75">
                  <c:v>228.12375832172924</c:v>
                </c:pt>
                <c:pt idx="76">
                  <c:v>229.77286202515756</c:v>
                </c:pt>
                <c:pt idx="77">
                  <c:v>231.19395663496192</c:v>
                </c:pt>
                <c:pt idx="78">
                  <c:v>232.3743771659507</c:v>
                </c:pt>
                <c:pt idx="79">
                  <c:v>233.30431556791862</c:v>
                </c:pt>
                <c:pt idx="80">
                  <c:v>233.98780177966256</c:v>
                </c:pt>
                <c:pt idx="81">
                  <c:v>234.42478946997795</c:v>
                </c:pt>
                <c:pt idx="82">
                  <c:v>234.61302335385022</c:v>
                </c:pt>
                <c:pt idx="83">
                  <c:v>234.54946182136462</c:v>
                </c:pt>
                <c:pt idx="84">
                  <c:v>234.23613929656204</c:v>
                </c:pt>
                <c:pt idx="85">
                  <c:v>233.67536382641214</c:v>
                </c:pt>
                <c:pt idx="86">
                  <c:v>232.8702441451095</c:v>
                </c:pt>
                <c:pt idx="87">
                  <c:v>231.82378073114228</c:v>
                </c:pt>
                <c:pt idx="88">
                  <c:v>230.54090893444953</c:v>
                </c:pt>
                <c:pt idx="89">
                  <c:v>229.02655798187826</c:v>
                </c:pt>
                <c:pt idx="90">
                  <c:v>227.28592007827231</c:v>
                </c:pt>
                <c:pt idx="91">
                  <c:v>225.32579828733583</c:v>
                </c:pt>
                <c:pt idx="92">
                  <c:v>223.15413262356438</c:v>
                </c:pt>
                <c:pt idx="93">
                  <c:v>220.77911243020611</c:v>
                </c:pt>
                <c:pt idx="94">
                  <c:v>218.20928909371531</c:v>
                </c:pt>
                <c:pt idx="95">
                  <c:v>215.45385102251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4.252591137710056</c:v>
                </c:pt>
                <c:pt idx="43">
                  <c:v>99.65542820169857</c:v>
                </c:pt>
                <c:pt idx="44">
                  <c:v>105.07931047736014</c:v>
                </c:pt>
                <c:pt idx="45">
                  <c:v>110.44314982550189</c:v>
                </c:pt>
                <c:pt idx="46">
                  <c:v>115.9606364478997</c:v>
                </c:pt>
                <c:pt idx="47">
                  <c:v>121.72085182014018</c:v>
                </c:pt>
                <c:pt idx="48">
                  <c:v>127.61475486578267</c:v>
                </c:pt>
                <c:pt idx="49">
                  <c:v>133.60500588810359</c:v>
                </c:pt>
                <c:pt idx="50">
                  <c:v>139.44822860664831</c:v>
                </c:pt>
                <c:pt idx="51">
                  <c:v>145.44879228634937</c:v>
                </c:pt>
                <c:pt idx="52">
                  <c:v>151.56828293052763</c:v>
                </c:pt>
                <c:pt idx="53">
                  <c:v>157.88104250951739</c:v>
                </c:pt>
                <c:pt idx="54">
                  <c:v>164.11573582082099</c:v>
                </c:pt>
                <c:pt idx="55">
                  <c:v>170.40799660193019</c:v>
                </c:pt>
                <c:pt idx="56">
                  <c:v>176.87092197147945</c:v>
                </c:pt>
                <c:pt idx="57">
                  <c:v>183.34452470279274</c:v>
                </c:pt>
                <c:pt idx="58">
                  <c:v>189.84541329643656</c:v>
                </c:pt>
                <c:pt idx="59">
                  <c:v>196.34110486426221</c:v>
                </c:pt>
                <c:pt idx="60">
                  <c:v>202.91271858655833</c:v>
                </c:pt>
                <c:pt idx="61">
                  <c:v>209.42921002715809</c:v>
                </c:pt>
                <c:pt idx="62">
                  <c:v>215.87620506882934</c:v>
                </c:pt>
                <c:pt idx="63">
                  <c:v>222.28489068577591</c:v>
                </c:pt>
                <c:pt idx="64">
                  <c:v>228.668432228661</c:v>
                </c:pt>
                <c:pt idx="65">
                  <c:v>234.9197814327303</c:v>
                </c:pt>
                <c:pt idx="66">
                  <c:v>241.03102302130716</c:v>
                </c:pt>
                <c:pt idx="67">
                  <c:v>247.01417455888316</c:v>
                </c:pt>
                <c:pt idx="68">
                  <c:v>252.85669420161184</c:v>
                </c:pt>
                <c:pt idx="69">
                  <c:v>258.52726828187247</c:v>
                </c:pt>
                <c:pt idx="70">
                  <c:v>263.99513891064339</c:v>
                </c:pt>
                <c:pt idx="71">
                  <c:v>269.26515009608624</c:v>
                </c:pt>
                <c:pt idx="72">
                  <c:v>274.28440074680293</c:v>
                </c:pt>
                <c:pt idx="73">
                  <c:v>279.03438820944939</c:v>
                </c:pt>
                <c:pt idx="74">
                  <c:v>283.47732132885392</c:v>
                </c:pt>
                <c:pt idx="75">
                  <c:v>287.6204407286599</c:v>
                </c:pt>
                <c:pt idx="76">
                  <c:v>291.44581499437902</c:v>
                </c:pt>
                <c:pt idx="77">
                  <c:v>294.93491765265048</c:v>
                </c:pt>
                <c:pt idx="78">
                  <c:v>298.0635927595315</c:v>
                </c:pt>
                <c:pt idx="79">
                  <c:v>300.81163604598419</c:v>
                </c:pt>
                <c:pt idx="80">
                  <c:v>303.17412594739534</c:v>
                </c:pt>
                <c:pt idx="81">
                  <c:v>305.1426039578941</c:v>
                </c:pt>
                <c:pt idx="82">
                  <c:v>306.70739322323379</c:v>
                </c:pt>
                <c:pt idx="83">
                  <c:v>307.85907687578515</c:v>
                </c:pt>
                <c:pt idx="84">
                  <c:v>308.59439752554306</c:v>
                </c:pt>
                <c:pt idx="85">
                  <c:v>308.91150616373761</c:v>
                </c:pt>
                <c:pt idx="86">
                  <c:v>308.81050640958961</c:v>
                </c:pt>
                <c:pt idx="87">
                  <c:v>308.29256198950719</c:v>
                </c:pt>
                <c:pt idx="88">
                  <c:v>307.361932657681</c:v>
                </c:pt>
                <c:pt idx="89">
                  <c:v>306.02401365444121</c:v>
                </c:pt>
                <c:pt idx="90">
                  <c:v>304.28556876478854</c:v>
                </c:pt>
                <c:pt idx="91">
                  <c:v>302.15603931854861</c:v>
                </c:pt>
                <c:pt idx="92">
                  <c:v>299.64702609274991</c:v>
                </c:pt>
                <c:pt idx="93">
                  <c:v>296.77134340258073</c:v>
                </c:pt>
                <c:pt idx="94">
                  <c:v>293.54306032510942</c:v>
                </c:pt>
                <c:pt idx="95">
                  <c:v>289.97770008707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7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6</c:v>
                </c:pt>
                <c:pt idx="16">
                  <c:v>6</c:v>
                </c:pt>
                <c:pt idx="17">
                  <c:v>8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0</c:v>
                </c:pt>
                <c:pt idx="25">
                  <c:v>11</c:v>
                </c:pt>
                <c:pt idx="26">
                  <c:v>10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3</c:v>
                </c:pt>
                <c:pt idx="31">
                  <c:v>16</c:v>
                </c:pt>
                <c:pt idx="32">
                  <c:v>21</c:v>
                </c:pt>
                <c:pt idx="33">
                  <c:v>22</c:v>
                </c:pt>
                <c:pt idx="34">
                  <c:v>25</c:v>
                </c:pt>
                <c:pt idx="35">
                  <c:v>31</c:v>
                </c:pt>
                <c:pt idx="36">
                  <c:v>35</c:v>
                </c:pt>
                <c:pt idx="37">
                  <c:v>36</c:v>
                </c:pt>
                <c:pt idx="38">
                  <c:v>42</c:v>
                </c:pt>
                <c:pt idx="39">
                  <c:v>40</c:v>
                </c:pt>
                <c:pt idx="40">
                  <c:v>44</c:v>
                </c:pt>
                <c:pt idx="41">
                  <c:v>45</c:v>
                </c:pt>
                <c:pt idx="42">
                  <c:v>42</c:v>
                </c:pt>
                <c:pt idx="43">
                  <c:v>44</c:v>
                </c:pt>
                <c:pt idx="44">
                  <c:v>46</c:v>
                </c:pt>
                <c:pt idx="45">
                  <c:v>50</c:v>
                </c:pt>
                <c:pt idx="46">
                  <c:v>51</c:v>
                </c:pt>
                <c:pt idx="47">
                  <c:v>57</c:v>
                </c:pt>
                <c:pt idx="48">
                  <c:v>64</c:v>
                </c:pt>
                <c:pt idx="49">
                  <c:v>61</c:v>
                </c:pt>
                <c:pt idx="50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4.818796988253624</c:v>
                </c:pt>
                <c:pt idx="43">
                  <c:v>47.107828831870385</c:v>
                </c:pt>
                <c:pt idx="44">
                  <c:v>49.330525733388157</c:v>
                </c:pt>
                <c:pt idx="45">
                  <c:v>51.420808282861962</c:v>
                </c:pt>
                <c:pt idx="46">
                  <c:v>53.481303525932638</c:v>
                </c:pt>
                <c:pt idx="47">
                  <c:v>55.547595312652398</c:v>
                </c:pt>
                <c:pt idx="48">
                  <c:v>57.58457097720752</c:v>
                </c:pt>
                <c:pt idx="49">
                  <c:v>59.551264856526892</c:v>
                </c:pt>
                <c:pt idx="50">
                  <c:v>61.318799037142689</c:v>
                </c:pt>
                <c:pt idx="51">
                  <c:v>63.061178838529806</c:v>
                </c:pt>
                <c:pt idx="52">
                  <c:v>64.759622115744577</c:v>
                </c:pt>
                <c:pt idx="53">
                  <c:v>66.441316476137771</c:v>
                </c:pt>
                <c:pt idx="54">
                  <c:v>67.961699262100325</c:v>
                </c:pt>
                <c:pt idx="55">
                  <c:v>69.416375708454069</c:v>
                </c:pt>
                <c:pt idx="56">
                  <c:v>70.858893957227025</c:v>
                </c:pt>
                <c:pt idx="57">
                  <c:v>72.212509077482281</c:v>
                </c:pt>
                <c:pt idx="58">
                  <c:v>73.484015023703023</c:v>
                </c:pt>
                <c:pt idx="59">
                  <c:v>74.679235935178895</c:v>
                </c:pt>
                <c:pt idx="60">
                  <c:v>75.850527910407962</c:v>
                </c:pt>
                <c:pt idx="61">
                  <c:v>76.923095679586055</c:v>
                </c:pt>
                <c:pt idx="62">
                  <c:v>77.909657179102339</c:v>
                </c:pt>
                <c:pt idx="63">
                  <c:v>78.827569136172784</c:v>
                </c:pt>
                <c:pt idx="64">
                  <c:v>79.702204994509287</c:v>
                </c:pt>
                <c:pt idx="65">
                  <c:v>80.48503045847086</c:v>
                </c:pt>
                <c:pt idx="66">
                  <c:v>81.184784246361687</c:v>
                </c:pt>
                <c:pt idx="67">
                  <c:v>81.817727933402679</c:v>
                </c:pt>
                <c:pt idx="68">
                  <c:v>82.385378239026508</c:v>
                </c:pt>
                <c:pt idx="69">
                  <c:v>82.881687089767894</c:v>
                </c:pt>
                <c:pt idx="70">
                  <c:v>83.303165293628666</c:v>
                </c:pt>
                <c:pt idx="71">
                  <c:v>83.6661645908585</c:v>
                </c:pt>
                <c:pt idx="72">
                  <c:v>83.954784977279729</c:v>
                </c:pt>
                <c:pt idx="73">
                  <c:v>84.168630512775337</c:v>
                </c:pt>
                <c:pt idx="74">
                  <c:v>84.299937705038701</c:v>
                </c:pt>
                <c:pt idx="75">
                  <c:v>84.36101029801992</c:v>
                </c:pt>
                <c:pt idx="76">
                  <c:v>84.351791060264617</c:v>
                </c:pt>
                <c:pt idx="77">
                  <c:v>84.272435937533245</c:v>
                </c:pt>
                <c:pt idx="78">
                  <c:v>84.120463374851539</c:v>
                </c:pt>
                <c:pt idx="79">
                  <c:v>83.89440572866198</c:v>
                </c:pt>
                <c:pt idx="80">
                  <c:v>83.597670393627155</c:v>
                </c:pt>
                <c:pt idx="81">
                  <c:v>83.232327768694034</c:v>
                </c:pt>
                <c:pt idx="82">
                  <c:v>82.799178167705378</c:v>
                </c:pt>
                <c:pt idx="83">
                  <c:v>82.298409323822312</c:v>
                </c:pt>
                <c:pt idx="84">
                  <c:v>81.732159695787502</c:v>
                </c:pt>
                <c:pt idx="85">
                  <c:v>81.102463108335456</c:v>
                </c:pt>
                <c:pt idx="86">
                  <c:v>80.411437966547169</c:v>
                </c:pt>
                <c:pt idx="87">
                  <c:v>79.66083607278226</c:v>
                </c:pt>
                <c:pt idx="88">
                  <c:v>78.853043151403128</c:v>
                </c:pt>
                <c:pt idx="89">
                  <c:v>77.990243028400712</c:v>
                </c:pt>
                <c:pt idx="90">
                  <c:v>77.074544133919147</c:v>
                </c:pt>
                <c:pt idx="91">
                  <c:v>76.108447971373735</c:v>
                </c:pt>
                <c:pt idx="92">
                  <c:v>75.094723801922157</c:v>
                </c:pt>
                <c:pt idx="93">
                  <c:v>74.036063905557057</c:v>
                </c:pt>
                <c:pt idx="94">
                  <c:v>72.935137933938293</c:v>
                </c:pt>
                <c:pt idx="95">
                  <c:v>71.794714600300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4.904999029318958</c:v>
                </c:pt>
                <c:pt idx="43">
                  <c:v>47.314759010502968</c:v>
                </c:pt>
                <c:pt idx="44">
                  <c:v>49.697260251595225</c:v>
                </c:pt>
                <c:pt idx="45">
                  <c:v>51.990321020622403</c:v>
                </c:pt>
                <c:pt idx="46">
                  <c:v>54.299027183569436</c:v>
                </c:pt>
                <c:pt idx="47">
                  <c:v>56.662798945341009</c:v>
                </c:pt>
                <c:pt idx="48">
                  <c:v>59.047468238483702</c:v>
                </c:pt>
                <c:pt idx="49">
                  <c:v>61.413982924196944</c:v>
                </c:pt>
                <c:pt idx="50">
                  <c:v>63.633417557320129</c:v>
                </c:pt>
                <c:pt idx="51">
                  <c:v>65.880580791265231</c:v>
                </c:pt>
                <c:pt idx="52">
                  <c:v>68.136194330869131</c:v>
                </c:pt>
                <c:pt idx="53">
                  <c:v>70.426076473694678</c:v>
                </c:pt>
                <c:pt idx="54">
                  <c:v>72.604318457673074</c:v>
                </c:pt>
                <c:pt idx="55">
                  <c:v>74.764431079515205</c:v>
                </c:pt>
                <c:pt idx="56">
                  <c:v>76.957984670358115</c:v>
                </c:pt>
                <c:pt idx="57">
                  <c:v>79.105255094861448</c:v>
                </c:pt>
                <c:pt idx="58">
                  <c:v>81.209956919546158</c:v>
                </c:pt>
                <c:pt idx="59">
                  <c:v>83.273096193279287</c:v>
                </c:pt>
                <c:pt idx="60">
                  <c:v>85.344249105532299</c:v>
                </c:pt>
                <c:pt idx="61">
                  <c:v>87.343400783609468</c:v>
                </c:pt>
                <c:pt idx="62">
                  <c:v>89.279556820749846</c:v>
                </c:pt>
                <c:pt idx="63">
                  <c:v>91.166324772403726</c:v>
                </c:pt>
                <c:pt idx="64">
                  <c:v>93.024681111579994</c:v>
                </c:pt>
                <c:pt idx="65">
                  <c:v>94.80127987830339</c:v>
                </c:pt>
                <c:pt idx="66">
                  <c:v>96.500638647552933</c:v>
                </c:pt>
                <c:pt idx="67">
                  <c:v>98.135152089402396</c:v>
                </c:pt>
                <c:pt idx="68">
                  <c:v>99.702026905181981</c:v>
                </c:pt>
                <c:pt idx="69">
                  <c:v>101.190940664473</c:v>
                </c:pt>
                <c:pt idx="70">
                  <c:v>102.59395340676562</c:v>
                </c:pt>
                <c:pt idx="71">
                  <c:v>103.9231724487274</c:v>
                </c:pt>
                <c:pt idx="72">
                  <c:v>105.1582362885879</c:v>
                </c:pt>
                <c:pt idx="73">
                  <c:v>106.29483818768325</c:v>
                </c:pt>
                <c:pt idx="74">
                  <c:v>107.32129388631536</c:v>
                </c:pt>
                <c:pt idx="75">
                  <c:v>108.24646210504821</c:v>
                </c:pt>
                <c:pt idx="76">
                  <c:v>109.06682567979475</c:v>
                </c:pt>
                <c:pt idx="77">
                  <c:v>109.77928552360935</c:v>
                </c:pt>
                <c:pt idx="78">
                  <c:v>110.37809072118324</c:v>
                </c:pt>
                <c:pt idx="79">
                  <c:v>110.85888086949589</c:v>
                </c:pt>
                <c:pt idx="80">
                  <c:v>111.22265998608751</c:v>
                </c:pt>
                <c:pt idx="81">
                  <c:v>111.46922120308265</c:v>
                </c:pt>
                <c:pt idx="82">
                  <c:v>111.59737050580262</c:v>
                </c:pt>
                <c:pt idx="83">
                  <c:v>111.60559036201084</c:v>
                </c:pt>
                <c:pt idx="84">
                  <c:v>111.49460332086724</c:v>
                </c:pt>
                <c:pt idx="85">
                  <c:v>111.26532634825193</c:v>
                </c:pt>
                <c:pt idx="86">
                  <c:v>110.91905912497715</c:v>
                </c:pt>
                <c:pt idx="87">
                  <c:v>110.45703390658477</c:v>
                </c:pt>
                <c:pt idx="88">
                  <c:v>109.88141015866881</c:v>
                </c:pt>
                <c:pt idx="89">
                  <c:v>109.19443148133564</c:v>
                </c:pt>
                <c:pt idx="90">
                  <c:v>108.39854129955856</c:v>
                </c:pt>
                <c:pt idx="91">
                  <c:v>107.49684123457907</c:v>
                </c:pt>
                <c:pt idx="92">
                  <c:v>106.492955937906</c:v>
                </c:pt>
                <c:pt idx="93">
                  <c:v>105.39067502290808</c:v>
                </c:pt>
                <c:pt idx="94">
                  <c:v>104.1939910534665</c:v>
                </c:pt>
                <c:pt idx="95">
                  <c:v>102.90719888607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4.991690504219555</c:v>
                </c:pt>
                <c:pt idx="43">
                  <c:v>47.523467762228819</c:v>
                </c:pt>
                <c:pt idx="44">
                  <c:v>50.06842590734275</c:v>
                </c:pt>
                <c:pt idx="45">
                  <c:v>52.568976371312758</c:v>
                </c:pt>
                <c:pt idx="46">
                  <c:v>55.133470073944281</c:v>
                </c:pt>
                <c:pt idx="47">
                  <c:v>57.806072874149706</c:v>
                </c:pt>
                <c:pt idx="48">
                  <c:v>60.554542357057443</c:v>
                </c:pt>
                <c:pt idx="49">
                  <c:v>63.342786496028381</c:v>
                </c:pt>
                <c:pt idx="50">
                  <c:v>66.042912459700347</c:v>
                </c:pt>
                <c:pt idx="51">
                  <c:v>68.831634922709554</c:v>
                </c:pt>
                <c:pt idx="52">
                  <c:v>71.690273827136977</c:v>
                </c:pt>
                <c:pt idx="53">
                  <c:v>74.644332476858722</c:v>
                </c:pt>
                <c:pt idx="54">
                  <c:v>77.547545752612947</c:v>
                </c:pt>
                <c:pt idx="55">
                  <c:v>80.492227893388218</c:v>
                </c:pt>
                <c:pt idx="56">
                  <c:v>83.528765694189815</c:v>
                </c:pt>
                <c:pt idx="57">
                  <c:v>86.575114013588689</c:v>
                </c:pt>
                <c:pt idx="58">
                  <c:v>89.632416689621039</c:v>
                </c:pt>
                <c:pt idx="59">
                  <c:v>92.697193519443516</c:v>
                </c:pt>
                <c:pt idx="60">
                  <c:v>95.816381766320688</c:v>
                </c:pt>
                <c:pt idx="61">
                  <c:v>98.904668828666104</c:v>
                </c:pt>
                <c:pt idx="62">
                  <c:v>101.96704692390847</c:v>
                </c:pt>
                <c:pt idx="63">
                  <c:v>105.01284478998321</c:v>
                </c:pt>
                <c:pt idx="64">
                  <c:v>108.05787950835136</c:v>
                </c:pt>
                <c:pt idx="65">
                  <c:v>111.04301345509691</c:v>
                </c:pt>
                <c:pt idx="66">
                  <c:v>113.96735368968601</c:v>
                </c:pt>
                <c:pt idx="67">
                  <c:v>116.83802101278019</c:v>
                </c:pt>
                <c:pt idx="68">
                  <c:v>119.64630145495322</c:v>
                </c:pt>
                <c:pt idx="69">
                  <c:v>122.3758014158918</c:v>
                </c:pt>
                <c:pt idx="70">
                  <c:v>125.01216698718054</c:v>
                </c:pt>
                <c:pt idx="71">
                  <c:v>127.56115450483041</c:v>
                </c:pt>
                <c:pt idx="72">
                  <c:v>129.99572185064753</c:v>
                </c:pt>
                <c:pt idx="73">
                  <c:v>132.30534934661057</c:v>
                </c:pt>
                <c:pt idx="74">
                  <c:v>134.4720720300659</c:v>
                </c:pt>
                <c:pt idx="75">
                  <c:v>136.49891688514057</c:v>
                </c:pt>
                <c:pt idx="76">
                  <c:v>138.37652460851925</c:v>
                </c:pt>
                <c:pt idx="77">
                  <c:v>140.09619510723113</c:v>
                </c:pt>
                <c:pt idx="78">
                  <c:v>141.64662959181538</c:v>
                </c:pt>
                <c:pt idx="79">
                  <c:v>143.01839569428842</c:v>
                </c:pt>
                <c:pt idx="80">
                  <c:v>144.20804467319249</c:v>
                </c:pt>
                <c:pt idx="81">
                  <c:v>145.21119900947951</c:v>
                </c:pt>
                <c:pt idx="82">
                  <c:v>146.02295717213173</c:v>
                </c:pt>
                <c:pt idx="83">
                  <c:v>146.63858571009283</c:v>
                </c:pt>
                <c:pt idx="84">
                  <c:v>147.05610205486812</c:v>
                </c:pt>
                <c:pt idx="85">
                  <c:v>147.27425386996734</c:v>
                </c:pt>
                <c:pt idx="86">
                  <c:v>147.2927184390222</c:v>
                </c:pt>
                <c:pt idx="87">
                  <c:v>147.11166199680224</c:v>
                </c:pt>
                <c:pt idx="88">
                  <c:v>146.73273276590112</c:v>
                </c:pt>
                <c:pt idx="89">
                  <c:v>146.15821077406304</c:v>
                </c:pt>
                <c:pt idx="90">
                  <c:v>145.39110935538605</c:v>
                </c:pt>
                <c:pt idx="91">
                  <c:v>144.43561678498421</c:v>
                </c:pt>
                <c:pt idx="92">
                  <c:v>143.29694101854753</c:v>
                </c:pt>
                <c:pt idx="93">
                  <c:v>141.98092507831029</c:v>
                </c:pt>
                <c:pt idx="94">
                  <c:v>140.49405269009802</c:v>
                </c:pt>
                <c:pt idx="95">
                  <c:v>138.843512720458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5</c:v>
                </c:pt>
                <c:pt idx="11">
                  <c:v>4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9</c:v>
                </c:pt>
                <c:pt idx="23">
                  <c:v>12</c:v>
                </c:pt>
                <c:pt idx="24">
                  <c:v>12</c:v>
                </c:pt>
                <c:pt idx="25">
                  <c:v>15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5</c:v>
                </c:pt>
                <c:pt idx="32">
                  <c:v>23</c:v>
                </c:pt>
                <c:pt idx="33">
                  <c:v>21</c:v>
                </c:pt>
                <c:pt idx="34">
                  <c:v>24</c:v>
                </c:pt>
                <c:pt idx="35">
                  <c:v>30</c:v>
                </c:pt>
                <c:pt idx="36">
                  <c:v>29</c:v>
                </c:pt>
                <c:pt idx="37">
                  <c:v>36</c:v>
                </c:pt>
                <c:pt idx="38">
                  <c:v>36</c:v>
                </c:pt>
                <c:pt idx="39">
                  <c:v>39</c:v>
                </c:pt>
                <c:pt idx="40">
                  <c:v>40</c:v>
                </c:pt>
                <c:pt idx="41">
                  <c:v>39</c:v>
                </c:pt>
                <c:pt idx="42">
                  <c:v>42</c:v>
                </c:pt>
                <c:pt idx="43">
                  <c:v>41</c:v>
                </c:pt>
                <c:pt idx="44">
                  <c:v>41</c:v>
                </c:pt>
                <c:pt idx="45">
                  <c:v>49</c:v>
                </c:pt>
                <c:pt idx="46">
                  <c:v>51</c:v>
                </c:pt>
                <c:pt idx="47">
                  <c:v>54</c:v>
                </c:pt>
                <c:pt idx="48">
                  <c:v>56</c:v>
                </c:pt>
                <c:pt idx="49">
                  <c:v>55</c:v>
                </c:pt>
                <c:pt idx="50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2.113443700875791</c:v>
                </c:pt>
                <c:pt idx="43">
                  <c:v>44.324132066759987</c:v>
                </c:pt>
                <c:pt idx="44">
                  <c:v>46.464178662526251</c:v>
                </c:pt>
                <c:pt idx="45">
                  <c:v>48.500985024100089</c:v>
                </c:pt>
                <c:pt idx="46">
                  <c:v>50.52098687329665</c:v>
                </c:pt>
                <c:pt idx="47">
                  <c:v>52.554676360776995</c:v>
                </c:pt>
                <c:pt idx="48">
                  <c:v>54.538841533745654</c:v>
                </c:pt>
                <c:pt idx="49">
                  <c:v>56.463869627232867</c:v>
                </c:pt>
                <c:pt idx="50">
                  <c:v>58.227128384811323</c:v>
                </c:pt>
                <c:pt idx="51">
                  <c:v>59.944668581030648</c:v>
                </c:pt>
                <c:pt idx="52">
                  <c:v>61.599496571435608</c:v>
                </c:pt>
                <c:pt idx="53">
                  <c:v>63.233307944540826</c:v>
                </c:pt>
                <c:pt idx="54">
                  <c:v>64.736205291601294</c:v>
                </c:pt>
                <c:pt idx="55">
                  <c:v>66.156271769500023</c:v>
                </c:pt>
                <c:pt idx="56">
                  <c:v>67.549796808048569</c:v>
                </c:pt>
                <c:pt idx="57">
                  <c:v>68.853410745772635</c:v>
                </c:pt>
                <c:pt idx="58">
                  <c:v>70.084890860246659</c:v>
                </c:pt>
                <c:pt idx="59">
                  <c:v>71.231962321611547</c:v>
                </c:pt>
                <c:pt idx="60">
                  <c:v>72.331858195205456</c:v>
                </c:pt>
                <c:pt idx="61">
                  <c:v>73.349598240299201</c:v>
                </c:pt>
                <c:pt idx="62">
                  <c:v>74.279137194950067</c:v>
                </c:pt>
                <c:pt idx="63">
                  <c:v>75.145322258356344</c:v>
                </c:pt>
                <c:pt idx="64">
                  <c:v>75.958225540827954</c:v>
                </c:pt>
                <c:pt idx="65">
                  <c:v>76.684588739772977</c:v>
                </c:pt>
                <c:pt idx="66">
                  <c:v>77.328536360195613</c:v>
                </c:pt>
                <c:pt idx="67">
                  <c:v>77.903178837235572</c:v>
                </c:pt>
                <c:pt idx="68">
                  <c:v>78.41428802461499</c:v>
                </c:pt>
                <c:pt idx="69">
                  <c:v>78.85848389190042</c:v>
                </c:pt>
                <c:pt idx="70">
                  <c:v>79.231882534858869</c:v>
                </c:pt>
                <c:pt idx="71">
                  <c:v>79.544705206048874</c:v>
                </c:pt>
                <c:pt idx="72">
                  <c:v>79.784668128428251</c:v>
                </c:pt>
                <c:pt idx="73">
                  <c:v>79.95374576476614</c:v>
                </c:pt>
                <c:pt idx="74">
                  <c:v>80.044307036844629</c:v>
                </c:pt>
                <c:pt idx="75">
                  <c:v>80.068444504673877</c:v>
                </c:pt>
                <c:pt idx="76">
                  <c:v>80.027091955826307</c:v>
                </c:pt>
                <c:pt idx="77">
                  <c:v>79.91987297049377</c:v>
                </c:pt>
                <c:pt idx="78">
                  <c:v>79.743951615280821</c:v>
                </c:pt>
                <c:pt idx="79">
                  <c:v>79.497345645775198</c:v>
                </c:pt>
                <c:pt idx="80">
                  <c:v>79.184492673686748</c:v>
                </c:pt>
                <c:pt idx="81">
                  <c:v>78.807481041136526</c:v>
                </c:pt>
                <c:pt idx="82">
                  <c:v>78.367097225697222</c:v>
                </c:pt>
                <c:pt idx="83">
                  <c:v>77.863469248021062</c:v>
                </c:pt>
                <c:pt idx="84">
                  <c:v>77.298842232394932</c:v>
                </c:pt>
                <c:pt idx="85">
                  <c:v>76.675261280851061</c:v>
                </c:pt>
                <c:pt idx="86">
                  <c:v>75.994850357703001</c:v>
                </c:pt>
                <c:pt idx="87">
                  <c:v>75.259414119210305</c:v>
                </c:pt>
                <c:pt idx="88">
                  <c:v>74.471349042551864</c:v>
                </c:pt>
                <c:pt idx="89">
                  <c:v>73.632729295925074</c:v>
                </c:pt>
                <c:pt idx="90">
                  <c:v>72.745448115139624</c:v>
                </c:pt>
                <c:pt idx="91">
                  <c:v>71.811947323149212</c:v>
                </c:pt>
                <c:pt idx="92">
                  <c:v>70.834957556392453</c:v>
                </c:pt>
                <c:pt idx="93">
                  <c:v>69.81707247961657</c:v>
                </c:pt>
                <c:pt idx="94">
                  <c:v>68.760825807992191</c:v>
                </c:pt>
                <c:pt idx="95">
                  <c:v>67.668858260813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2.199575327986693</c:v>
                </c:pt>
                <c:pt idx="43">
                  <c:v>44.530855526740538</c:v>
                </c:pt>
                <c:pt idx="44">
                  <c:v>46.829888059909493</c:v>
                </c:pt>
                <c:pt idx="45">
                  <c:v>49.067667805281012</c:v>
                </c:pt>
                <c:pt idx="46">
                  <c:v>51.332992603940269</c:v>
                </c:pt>
                <c:pt idx="47">
                  <c:v>53.660139436757873</c:v>
                </c:pt>
                <c:pt idx="48">
                  <c:v>55.986450008352115</c:v>
                </c:pt>
                <c:pt idx="49">
                  <c:v>58.303875207648474</c:v>
                </c:pt>
                <c:pt idx="50">
                  <c:v>60.509602353436108</c:v>
                </c:pt>
                <c:pt idx="51">
                  <c:v>62.719710543689658</c:v>
                </c:pt>
                <c:pt idx="52">
                  <c:v>64.91667677137292</c:v>
                </c:pt>
                <c:pt idx="53">
                  <c:v>67.140617021303768</c:v>
                </c:pt>
                <c:pt idx="54">
                  <c:v>69.280428807923627</c:v>
                </c:pt>
                <c:pt idx="55">
                  <c:v>71.381663937524493</c:v>
                </c:pt>
                <c:pt idx="56">
                  <c:v>73.498597250518074</c:v>
                </c:pt>
                <c:pt idx="57">
                  <c:v>75.565123632696114</c:v>
                </c:pt>
                <c:pt idx="58">
                  <c:v>77.595743659008235</c:v>
                </c:pt>
                <c:pt idx="59">
                  <c:v>79.573200645402864</c:v>
                </c:pt>
                <c:pt idx="60">
                  <c:v>81.531746341602613</c:v>
                </c:pt>
                <c:pt idx="61">
                  <c:v>83.431599850130468</c:v>
                </c:pt>
                <c:pt idx="62">
                  <c:v>85.26304312986241</c:v>
                </c:pt>
                <c:pt idx="63">
                  <c:v>87.047508697705268</c:v>
                </c:pt>
                <c:pt idx="64">
                  <c:v>88.790451714207052</c:v>
                </c:pt>
                <c:pt idx="65">
                  <c:v>90.454220333324386</c:v>
                </c:pt>
                <c:pt idx="66">
                  <c:v>92.038817225630879</c:v>
                </c:pt>
                <c:pt idx="67">
                  <c:v>93.553772697412697</c:v>
                </c:pt>
                <c:pt idx="68">
                  <c:v>95.000799960641473</c:v>
                </c:pt>
                <c:pt idx="69">
                  <c:v>96.372513073043677</c:v>
                </c:pt>
                <c:pt idx="70">
                  <c:v>97.660924061495081</c:v>
                </c:pt>
                <c:pt idx="71">
                  <c:v>98.872184203680774</c:v>
                </c:pt>
                <c:pt idx="72">
                  <c:v>99.989900549387528</c:v>
                </c:pt>
                <c:pt idx="73">
                  <c:v>101.01252580452862</c:v>
                </c:pt>
                <c:pt idx="74">
                  <c:v>101.92885858193873</c:v>
                </c:pt>
                <c:pt idx="75">
                  <c:v>102.74782141549491</c:v>
                </c:pt>
                <c:pt idx="76">
                  <c:v>103.46721473552567</c:v>
                </c:pt>
                <c:pt idx="77">
                  <c:v>104.08373386990397</c:v>
                </c:pt>
                <c:pt idx="78">
                  <c:v>104.59151472896954</c:v>
                </c:pt>
                <c:pt idx="79">
                  <c:v>104.98595846590382</c:v>
                </c:pt>
                <c:pt idx="80">
                  <c:v>105.26944091430587</c:v>
                </c:pt>
                <c:pt idx="81">
                  <c:v>105.44205535323175</c:v>
                </c:pt>
                <c:pt idx="82">
                  <c:v>105.50286246757966</c:v>
                </c:pt>
                <c:pt idx="83">
                  <c:v>105.45053815573209</c:v>
                </c:pt>
                <c:pt idx="84">
                  <c:v>105.28614863495594</c:v>
                </c:pt>
                <c:pt idx="85">
                  <c:v>105.01084349137001</c:v>
                </c:pt>
                <c:pt idx="86">
                  <c:v>104.62613122564855</c:v>
                </c:pt>
                <c:pt idx="87">
                  <c:v>104.13348149332344</c:v>
                </c:pt>
                <c:pt idx="88">
                  <c:v>103.53522980590668</c:v>
                </c:pt>
                <c:pt idx="89">
                  <c:v>102.83365517865593</c:v>
                </c:pt>
                <c:pt idx="90">
                  <c:v>102.03110874363271</c:v>
                </c:pt>
                <c:pt idx="91">
                  <c:v>101.13073271830028</c:v>
                </c:pt>
                <c:pt idx="92">
                  <c:v>100.13619157049195</c:v>
                </c:pt>
                <c:pt idx="93">
                  <c:v>99.051233262869076</c:v>
                </c:pt>
                <c:pt idx="94">
                  <c:v>97.879749586676638</c:v>
                </c:pt>
                <c:pt idx="95">
                  <c:v>96.625919237448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2.286195359994402</c:v>
                </c:pt>
                <c:pt idx="43">
                  <c:v>44.73935530179515</c:v>
                </c:pt>
                <c:pt idx="44">
                  <c:v>47.200021637980029</c:v>
                </c:pt>
                <c:pt idx="45">
                  <c:v>49.643471458168889</c:v>
                </c:pt>
                <c:pt idx="46">
                  <c:v>52.161658699549889</c:v>
                </c:pt>
                <c:pt idx="47">
                  <c:v>54.793535401876838</c:v>
                </c:pt>
                <c:pt idx="48">
                  <c:v>57.47795074591474</c:v>
                </c:pt>
                <c:pt idx="49">
                  <c:v>60.209430912303787</c:v>
                </c:pt>
                <c:pt idx="50">
                  <c:v>62.88601954681377</c:v>
                </c:pt>
                <c:pt idx="51">
                  <c:v>65.624870458805546</c:v>
                </c:pt>
                <c:pt idx="52">
                  <c:v>68.408961100088845</c:v>
                </c:pt>
                <c:pt idx="53">
                  <c:v>71.27780893015057</c:v>
                </c:pt>
                <c:pt idx="54">
                  <c:v>74.120016959976184</c:v>
                </c:pt>
                <c:pt idx="55">
                  <c:v>76.979415760856483</c:v>
                </c:pt>
                <c:pt idx="56">
                  <c:v>79.908968946833454</c:v>
                </c:pt>
                <c:pt idx="57">
                  <c:v>82.840402298861704</c:v>
                </c:pt>
                <c:pt idx="58">
                  <c:v>85.785355780563265</c:v>
                </c:pt>
                <c:pt idx="59">
                  <c:v>88.721831443018374</c:v>
                </c:pt>
                <c:pt idx="60">
                  <c:v>91.681151376749142</c:v>
                </c:pt>
                <c:pt idx="61">
                  <c:v>94.618573729609324</c:v>
                </c:pt>
                <c:pt idx="62">
                  <c:v>97.520331104358064</c:v>
                </c:pt>
                <c:pt idx="63">
                  <c:v>100.40384723376424</c:v>
                </c:pt>
                <c:pt idx="64">
                  <c:v>103.26914332021514</c:v>
                </c:pt>
                <c:pt idx="65">
                  <c:v>106.07315500554678</c:v>
                </c:pt>
                <c:pt idx="66">
                  <c:v>108.8105496554514</c:v>
                </c:pt>
                <c:pt idx="67">
                  <c:v>111.48586432420782</c:v>
                </c:pt>
                <c:pt idx="68">
                  <c:v>114.09515584776722</c:v>
                </c:pt>
                <c:pt idx="69">
                  <c:v>116.62526815311784</c:v>
                </c:pt>
                <c:pt idx="70">
                  <c:v>119.06219900948844</c:v>
                </c:pt>
                <c:pt idx="71">
                  <c:v>121.40599532388197</c:v>
                </c:pt>
                <c:pt idx="72">
                  <c:v>123.63402808543935</c:v>
                </c:pt>
                <c:pt idx="73">
                  <c:v>125.73903791924124</c:v>
                </c:pt>
                <c:pt idx="74">
                  <c:v>127.7040237761841</c:v>
                </c:pt>
                <c:pt idx="75">
                  <c:v>129.53249922109586</c:v>
                </c:pt>
                <c:pt idx="76">
                  <c:v>131.21691310347791</c:v>
                </c:pt>
                <c:pt idx="77">
                  <c:v>132.748864931425</c:v>
                </c:pt>
                <c:pt idx="78">
                  <c:v>134.11737389766893</c:v>
                </c:pt>
                <c:pt idx="79">
                  <c:v>135.31324440260062</c:v>
                </c:pt>
                <c:pt idx="80">
                  <c:v>136.33494717988771</c:v>
                </c:pt>
                <c:pt idx="81">
                  <c:v>137.17889715334888</c:v>
                </c:pt>
                <c:pt idx="82">
                  <c:v>137.84092709446813</c:v>
                </c:pt>
                <c:pt idx="83">
                  <c:v>138.31695926712194</c:v>
                </c:pt>
                <c:pt idx="84">
                  <c:v>138.60579627938654</c:v>
                </c:pt>
                <c:pt idx="85">
                  <c:v>138.70683683528767</c:v>
                </c:pt>
                <c:pt idx="86">
                  <c:v>138.62035720643621</c:v>
                </c:pt>
                <c:pt idx="87">
                  <c:v>138.3471198324344</c:v>
                </c:pt>
                <c:pt idx="88">
                  <c:v>137.88927365189332</c:v>
                </c:pt>
                <c:pt idx="89">
                  <c:v>137.24942160751732</c:v>
                </c:pt>
                <c:pt idx="90">
                  <c:v>136.43073122677578</c:v>
                </c:pt>
                <c:pt idx="91">
                  <c:v>135.43763502121266</c:v>
                </c:pt>
                <c:pt idx="92">
                  <c:v>134.27554120876073</c:v>
                </c:pt>
                <c:pt idx="93">
                  <c:v>132.9503680189581</c:v>
                </c:pt>
                <c:pt idx="94">
                  <c:v>131.4685708568872</c:v>
                </c:pt>
                <c:pt idx="95">
                  <c:v>129.837250737538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3</c:v>
                </c:pt>
                <c:pt idx="11">
                  <c:v>16</c:v>
                </c:pt>
                <c:pt idx="12">
                  <c:v>17</c:v>
                </c:pt>
                <c:pt idx="13">
                  <c:v>17</c:v>
                </c:pt>
                <c:pt idx="14">
                  <c:v>16</c:v>
                </c:pt>
                <c:pt idx="15">
                  <c:v>14</c:v>
                </c:pt>
                <c:pt idx="16">
                  <c:v>15</c:v>
                </c:pt>
                <c:pt idx="17">
                  <c:v>18</c:v>
                </c:pt>
                <c:pt idx="18">
                  <c:v>21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18</c:v>
                </c:pt>
                <c:pt idx="23">
                  <c:v>19</c:v>
                </c:pt>
                <c:pt idx="24">
                  <c:v>20</c:v>
                </c:pt>
                <c:pt idx="25">
                  <c:v>21</c:v>
                </c:pt>
                <c:pt idx="26">
                  <c:v>25</c:v>
                </c:pt>
                <c:pt idx="27">
                  <c:v>27</c:v>
                </c:pt>
                <c:pt idx="28">
                  <c:v>30</c:v>
                </c:pt>
                <c:pt idx="29">
                  <c:v>32</c:v>
                </c:pt>
                <c:pt idx="30">
                  <c:v>37</c:v>
                </c:pt>
                <c:pt idx="31">
                  <c:v>41</c:v>
                </c:pt>
                <c:pt idx="32">
                  <c:v>45</c:v>
                </c:pt>
                <c:pt idx="33">
                  <c:v>46</c:v>
                </c:pt>
                <c:pt idx="34">
                  <c:v>41</c:v>
                </c:pt>
                <c:pt idx="35">
                  <c:v>51</c:v>
                </c:pt>
                <c:pt idx="36">
                  <c:v>45</c:v>
                </c:pt>
                <c:pt idx="37">
                  <c:v>51</c:v>
                </c:pt>
                <c:pt idx="38">
                  <c:v>55</c:v>
                </c:pt>
                <c:pt idx="39">
                  <c:v>62</c:v>
                </c:pt>
                <c:pt idx="40">
                  <c:v>61</c:v>
                </c:pt>
                <c:pt idx="41">
                  <c:v>65</c:v>
                </c:pt>
                <c:pt idx="42">
                  <c:v>69</c:v>
                </c:pt>
                <c:pt idx="43">
                  <c:v>72</c:v>
                </c:pt>
                <c:pt idx="44">
                  <c:v>73</c:v>
                </c:pt>
                <c:pt idx="45">
                  <c:v>76</c:v>
                </c:pt>
                <c:pt idx="46">
                  <c:v>76</c:v>
                </c:pt>
                <c:pt idx="47">
                  <c:v>80</c:v>
                </c:pt>
                <c:pt idx="48">
                  <c:v>86</c:v>
                </c:pt>
                <c:pt idx="49">
                  <c:v>86</c:v>
                </c:pt>
                <c:pt idx="50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3.492535446357898</c:v>
                </c:pt>
                <c:pt idx="43">
                  <c:v>66.854002902050411</c:v>
                </c:pt>
                <c:pt idx="44">
                  <c:v>70.105006108948018</c:v>
                </c:pt>
                <c:pt idx="45">
                  <c:v>73.210453319765321</c:v>
                </c:pt>
                <c:pt idx="46">
                  <c:v>76.295895589258393</c:v>
                </c:pt>
                <c:pt idx="47">
                  <c:v>79.405901598784823</c:v>
                </c:pt>
                <c:pt idx="48">
                  <c:v>82.430767824240462</c:v>
                </c:pt>
                <c:pt idx="49">
                  <c:v>85.369765287094026</c:v>
                </c:pt>
                <c:pt idx="50">
                  <c:v>88.076960694141377</c:v>
                </c:pt>
                <c:pt idx="51">
                  <c:v>90.704704143529796</c:v>
                </c:pt>
                <c:pt idx="52">
                  <c:v>93.227687138396476</c:v>
                </c:pt>
                <c:pt idx="53">
                  <c:v>95.716468595769499</c:v>
                </c:pt>
                <c:pt idx="54">
                  <c:v>98.017723297393218</c:v>
                </c:pt>
                <c:pt idx="55">
                  <c:v>100.18404619241815</c:v>
                </c:pt>
                <c:pt idx="56">
                  <c:v>102.30314920264313</c:v>
                </c:pt>
                <c:pt idx="57">
                  <c:v>104.28365941141624</c:v>
                </c:pt>
                <c:pt idx="58">
                  <c:v>106.1578087168584</c:v>
                </c:pt>
                <c:pt idx="59">
                  <c:v>107.89863281334809</c:v>
                </c:pt>
                <c:pt idx="60">
                  <c:v>109.55656509523575</c:v>
                </c:pt>
                <c:pt idx="61">
                  <c:v>111.09569089591162</c:v>
                </c:pt>
                <c:pt idx="62">
                  <c:v>112.49831970499842</c:v>
                </c:pt>
                <c:pt idx="63">
                  <c:v>113.80598165562469</c:v>
                </c:pt>
                <c:pt idx="64">
                  <c:v>115.02729960078668</c:v>
                </c:pt>
                <c:pt idx="65">
                  <c:v>116.1180155577743</c:v>
                </c:pt>
                <c:pt idx="66">
                  <c:v>117.08240019550441</c:v>
                </c:pt>
                <c:pt idx="67">
                  <c:v>117.93918555161767</c:v>
                </c:pt>
                <c:pt idx="68">
                  <c:v>118.69914514218455</c:v>
                </c:pt>
                <c:pt idx="69">
                  <c:v>119.35828060200477</c:v>
                </c:pt>
                <c:pt idx="70">
                  <c:v>119.91044785623448</c:v>
                </c:pt>
                <c:pt idx="71">
                  <c:v>120.3686057425351</c:v>
                </c:pt>
                <c:pt idx="72">
                  <c:v>120.71550059197097</c:v>
                </c:pt>
                <c:pt idx="73">
                  <c:v>120.95522751426401</c:v>
                </c:pt>
                <c:pt idx="74">
                  <c:v>121.07612124794784</c:v>
                </c:pt>
                <c:pt idx="75">
                  <c:v>121.09666650012976</c:v>
                </c:pt>
                <c:pt idx="76">
                  <c:v>121.01874175567445</c:v>
                </c:pt>
                <c:pt idx="77">
                  <c:v>120.84153027370135</c:v>
                </c:pt>
                <c:pt idx="78">
                  <c:v>120.56051616716179</c:v>
                </c:pt>
                <c:pt idx="79">
                  <c:v>120.17242342580823</c:v>
                </c:pt>
                <c:pt idx="80">
                  <c:v>119.68453144135148</c:v>
                </c:pt>
                <c:pt idx="81">
                  <c:v>119.10005682432794</c:v>
                </c:pt>
                <c:pt idx="82">
                  <c:v>118.42020174030213</c:v>
                </c:pt>
                <c:pt idx="83">
                  <c:v>117.6451361429167</c:v>
                </c:pt>
                <c:pt idx="84">
                  <c:v>116.77835725749597</c:v>
                </c:pt>
                <c:pt idx="85">
                  <c:v>115.8230122744642</c:v>
                </c:pt>
                <c:pt idx="86">
                  <c:v>114.78236698937681</c:v>
                </c:pt>
                <c:pt idx="87">
                  <c:v>113.65921778503287</c:v>
                </c:pt>
                <c:pt idx="88">
                  <c:v>112.45725147758301</c:v>
                </c:pt>
                <c:pt idx="89">
                  <c:v>111.17960575884743</c:v>
                </c:pt>
                <c:pt idx="90">
                  <c:v>109.82909307128773</c:v>
                </c:pt>
                <c:pt idx="91">
                  <c:v>108.40943836025745</c:v>
                </c:pt>
                <c:pt idx="92">
                  <c:v>106.9248197396476</c:v>
                </c:pt>
                <c:pt idx="93">
                  <c:v>105.37917801235611</c:v>
                </c:pt>
                <c:pt idx="94">
                  <c:v>103.77634516041672</c:v>
                </c:pt>
                <c:pt idx="95">
                  <c:v>102.120321126170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3.624838463085837</c:v>
                </c:pt>
                <c:pt idx="43">
                  <c:v>67.171524855855594</c:v>
                </c:pt>
                <c:pt idx="44">
                  <c:v>70.666431103412236</c:v>
                </c:pt>
                <c:pt idx="45">
                  <c:v>74.079850062719771</c:v>
                </c:pt>
                <c:pt idx="46">
                  <c:v>77.540918697000976</c:v>
                </c:pt>
                <c:pt idx="47">
                  <c:v>81.099997711504656</c:v>
                </c:pt>
                <c:pt idx="48">
                  <c:v>84.648059164612476</c:v>
                </c:pt>
                <c:pt idx="49">
                  <c:v>88.186619833359032</c:v>
                </c:pt>
                <c:pt idx="50">
                  <c:v>91.569409704411726</c:v>
                </c:pt>
                <c:pt idx="51">
                  <c:v>94.948475331586195</c:v>
                </c:pt>
                <c:pt idx="52">
                  <c:v>98.297680020584352</c:v>
                </c:pt>
                <c:pt idx="53">
                  <c:v>101.6850615774574</c:v>
                </c:pt>
                <c:pt idx="54">
                  <c:v>104.95550643135718</c:v>
                </c:pt>
                <c:pt idx="55">
                  <c:v>108.15752465222414</c:v>
                </c:pt>
                <c:pt idx="56">
                  <c:v>111.37571643190417</c:v>
                </c:pt>
                <c:pt idx="57">
                  <c:v>114.51461519884742</c:v>
                </c:pt>
                <c:pt idx="58">
                  <c:v>117.60133009192535</c:v>
                </c:pt>
                <c:pt idx="59">
                  <c:v>120.60116923802445</c:v>
                </c:pt>
                <c:pt idx="60">
                  <c:v>123.55989527899723</c:v>
                </c:pt>
                <c:pt idx="61">
                  <c:v>126.43440532257375</c:v>
                </c:pt>
                <c:pt idx="62">
                  <c:v>129.2013836360141</c:v>
                </c:pt>
                <c:pt idx="63">
                  <c:v>131.89726374785729</c:v>
                </c:pt>
                <c:pt idx="64">
                  <c:v>134.5234764168664</c:v>
                </c:pt>
                <c:pt idx="65">
                  <c:v>137.02920056303802</c:v>
                </c:pt>
                <c:pt idx="66">
                  <c:v>139.4124184490995</c:v>
                </c:pt>
                <c:pt idx="67">
                  <c:v>141.68648994565925</c:v>
                </c:pt>
                <c:pt idx="68">
                  <c:v>143.85606535127613</c:v>
                </c:pt>
                <c:pt idx="69">
                  <c:v>145.91111174228803</c:v>
                </c:pt>
                <c:pt idx="70">
                  <c:v>147.83933471822678</c:v>
                </c:pt>
                <c:pt idx="71">
                  <c:v>149.6475180374531</c:v>
                </c:pt>
                <c:pt idx="72">
                  <c:v>151.31225238194634</c:v>
                </c:pt>
                <c:pt idx="73">
                  <c:v>152.83239617437727</c:v>
                </c:pt>
                <c:pt idx="74">
                  <c:v>154.19095559157051</c:v>
                </c:pt>
                <c:pt idx="75">
                  <c:v>155.40166798972209</c:v>
                </c:pt>
                <c:pt idx="76">
                  <c:v>156.46174393912878</c:v>
                </c:pt>
                <c:pt idx="77">
                  <c:v>157.36601400391561</c:v>
                </c:pt>
                <c:pt idx="78">
                  <c:v>158.10541778506339</c:v>
                </c:pt>
                <c:pt idx="79">
                  <c:v>158.6727827333232</c:v>
                </c:pt>
                <c:pt idx="80">
                  <c:v>159.07237345166925</c:v>
                </c:pt>
                <c:pt idx="81">
                  <c:v>159.30446766631704</c:v>
                </c:pt>
                <c:pt idx="82">
                  <c:v>159.36773625084115</c:v>
                </c:pt>
                <c:pt idx="83">
                  <c:v>159.26023144711053</c:v>
                </c:pt>
                <c:pt idx="84">
                  <c:v>158.98374531468545</c:v>
                </c:pt>
                <c:pt idx="85">
                  <c:v>158.5401482740219</c:v>
                </c:pt>
                <c:pt idx="86">
                  <c:v>157.93185153173059</c:v>
                </c:pt>
                <c:pt idx="87">
                  <c:v>157.16121941048118</c:v>
                </c:pt>
                <c:pt idx="88">
                  <c:v>156.23191907809144</c:v>
                </c:pt>
                <c:pt idx="89">
                  <c:v>155.14746792375669</c:v>
                </c:pt>
                <c:pt idx="90">
                  <c:v>153.91143694899174</c:v>
                </c:pt>
                <c:pt idx="91">
                  <c:v>152.5286721062343</c:v>
                </c:pt>
                <c:pt idx="92">
                  <c:v>151.00482139576627</c:v>
                </c:pt>
                <c:pt idx="93">
                  <c:v>149.34562461905034</c:v>
                </c:pt>
                <c:pt idx="94">
                  <c:v>147.55701608331978</c:v>
                </c:pt>
                <c:pt idx="95">
                  <c:v>145.64536401082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3.75789141519509</c:v>
                </c:pt>
                <c:pt idx="43">
                  <c:v>67.491774968506107</c:v>
                </c:pt>
                <c:pt idx="44">
                  <c:v>71.234650392183056</c:v>
                </c:pt>
                <c:pt idx="45">
                  <c:v>74.963250579951222</c:v>
                </c:pt>
                <c:pt idx="46">
                  <c:v>78.811512798475036</c:v>
                </c:pt>
                <c:pt idx="47">
                  <c:v>82.836949004003372</c:v>
                </c:pt>
                <c:pt idx="48">
                  <c:v>86.932660109285166</c:v>
                </c:pt>
                <c:pt idx="49">
                  <c:v>91.103947298630686</c:v>
                </c:pt>
                <c:pt idx="50">
                  <c:v>95.205777294719525</c:v>
                </c:pt>
                <c:pt idx="51">
                  <c:v>99.391475589127324</c:v>
                </c:pt>
                <c:pt idx="52">
                  <c:v>103.63563061706623</c:v>
                </c:pt>
                <c:pt idx="53">
                  <c:v>108.00523362731809</c:v>
                </c:pt>
                <c:pt idx="54">
                  <c:v>112.34474626637996</c:v>
                </c:pt>
                <c:pt idx="55">
                  <c:v>116.69979910224333</c:v>
                </c:pt>
                <c:pt idx="56">
                  <c:v>121.15292054781143</c:v>
                </c:pt>
                <c:pt idx="57">
                  <c:v>125.60537939418778</c:v>
                </c:pt>
                <c:pt idx="58">
                  <c:v>130.07975985953672</c:v>
                </c:pt>
                <c:pt idx="59">
                  <c:v>134.53397128723194</c:v>
                </c:pt>
                <c:pt idx="60">
                  <c:v>139.00914493101999</c:v>
                </c:pt>
                <c:pt idx="61">
                  <c:v>143.45470658988427</c:v>
                </c:pt>
                <c:pt idx="62">
                  <c:v>147.84110289770203</c:v>
                </c:pt>
                <c:pt idx="63">
                  <c:v>152.19872912273581</c:v>
                </c:pt>
                <c:pt idx="64">
                  <c:v>156.52054421451842</c:v>
                </c:pt>
                <c:pt idx="65">
                  <c:v>160.74758097869022</c:v>
                </c:pt>
                <c:pt idx="66">
                  <c:v>164.86965807722211</c:v>
                </c:pt>
                <c:pt idx="67">
                  <c:v>168.8925893017807</c:v>
                </c:pt>
                <c:pt idx="68">
                  <c:v>172.81245272395816</c:v>
                </c:pt>
                <c:pt idx="69">
                  <c:v>176.61048487253544</c:v>
                </c:pt>
                <c:pt idx="70">
                  <c:v>180.26532989488095</c:v>
                </c:pt>
                <c:pt idx="71">
                  <c:v>183.7745030939227</c:v>
                </c:pt>
                <c:pt idx="72">
                  <c:v>187.10521300784956</c:v>
                </c:pt>
                <c:pt idx="73">
                  <c:v>190.24776618298574</c:v>
                </c:pt>
                <c:pt idx="74">
                  <c:v>193.17647348367902</c:v>
                </c:pt>
                <c:pt idx="75">
                  <c:v>195.89695112711394</c:v>
                </c:pt>
                <c:pt idx="76">
                  <c:v>198.39840707492738</c:v>
                </c:pt>
                <c:pt idx="77">
                  <c:v>200.66806879011719</c:v>
                </c:pt>
                <c:pt idx="78">
                  <c:v>202.68920751305942</c:v>
                </c:pt>
                <c:pt idx="79">
                  <c:v>204.44780094817656</c:v>
                </c:pt>
                <c:pt idx="80">
                  <c:v>205.94235906574426</c:v>
                </c:pt>
                <c:pt idx="81">
                  <c:v>207.16772854245244</c:v>
                </c:pt>
                <c:pt idx="82">
                  <c:v>208.11783558707771</c:v>
                </c:pt>
                <c:pt idx="83">
                  <c:v>208.78670871383454</c:v>
                </c:pt>
                <c:pt idx="84">
                  <c:v>209.17285983670064</c:v>
                </c:pt>
                <c:pt idx="85">
                  <c:v>209.27565665664707</c:v>
                </c:pt>
                <c:pt idx="86">
                  <c:v>209.0957918791272</c:v>
                </c:pt>
                <c:pt idx="87">
                  <c:v>208.63470392258441</c:v>
                </c:pt>
                <c:pt idx="88">
                  <c:v>207.89591869211017</c:v>
                </c:pt>
                <c:pt idx="89">
                  <c:v>206.8835800128698</c:v>
                </c:pt>
                <c:pt idx="90">
                  <c:v>205.60262359462723</c:v>
                </c:pt>
                <c:pt idx="91">
                  <c:v>204.0599690194386</c:v>
                </c:pt>
                <c:pt idx="92">
                  <c:v>202.26401527408825</c:v>
                </c:pt>
                <c:pt idx="93">
                  <c:v>200.2238889371082</c:v>
                </c:pt>
                <c:pt idx="94">
                  <c:v>197.94949555411637</c:v>
                </c:pt>
                <c:pt idx="95">
                  <c:v>195.45170594139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33</c:v>
                </c:pt>
                <c:pt idx="1">
                  <c:v>138</c:v>
                </c:pt>
                <c:pt idx="2">
                  <c:v>145</c:v>
                </c:pt>
                <c:pt idx="3">
                  <c:v>153</c:v>
                </c:pt>
                <c:pt idx="4">
                  <c:v>171</c:v>
                </c:pt>
                <c:pt idx="5">
                  <c:v>193</c:v>
                </c:pt>
                <c:pt idx="6">
                  <c:v>197</c:v>
                </c:pt>
                <c:pt idx="7">
                  <c:v>205</c:v>
                </c:pt>
                <c:pt idx="8">
                  <c:v>212</c:v>
                </c:pt>
                <c:pt idx="9">
                  <c:v>219</c:v>
                </c:pt>
                <c:pt idx="10">
                  <c:v>244</c:v>
                </c:pt>
                <c:pt idx="11">
                  <c:v>260</c:v>
                </c:pt>
                <c:pt idx="12">
                  <c:v>268</c:v>
                </c:pt>
                <c:pt idx="13">
                  <c:v>284</c:v>
                </c:pt>
                <c:pt idx="14">
                  <c:v>297</c:v>
                </c:pt>
                <c:pt idx="15">
                  <c:v>309</c:v>
                </c:pt>
                <c:pt idx="16">
                  <c:v>320</c:v>
                </c:pt>
                <c:pt idx="17">
                  <c:v>347</c:v>
                </c:pt>
                <c:pt idx="18">
                  <c:v>367</c:v>
                </c:pt>
                <c:pt idx="19">
                  <c:v>389</c:v>
                </c:pt>
                <c:pt idx="20">
                  <c:v>408</c:v>
                </c:pt>
                <c:pt idx="21">
                  <c:v>435</c:v>
                </c:pt>
                <c:pt idx="22">
                  <c:v>458</c:v>
                </c:pt>
                <c:pt idx="23">
                  <c:v>481</c:v>
                </c:pt>
                <c:pt idx="24">
                  <c:v>505</c:v>
                </c:pt>
                <c:pt idx="25">
                  <c:v>534</c:v>
                </c:pt>
                <c:pt idx="26">
                  <c:v>579</c:v>
                </c:pt>
                <c:pt idx="27">
                  <c:v>607</c:v>
                </c:pt>
                <c:pt idx="28">
                  <c:v>648</c:v>
                </c:pt>
                <c:pt idx="29">
                  <c:v>686</c:v>
                </c:pt>
                <c:pt idx="30">
                  <c:v>724</c:v>
                </c:pt>
                <c:pt idx="31">
                  <c:v>784</c:v>
                </c:pt>
                <c:pt idx="32">
                  <c:v>833</c:v>
                </c:pt>
                <c:pt idx="33">
                  <c:v>886</c:v>
                </c:pt>
                <c:pt idx="34">
                  <c:v>939</c:v>
                </c:pt>
                <c:pt idx="35">
                  <c:v>1011</c:v>
                </c:pt>
                <c:pt idx="36">
                  <c:v>1063</c:v>
                </c:pt>
                <c:pt idx="37">
                  <c:v>1124</c:v>
                </c:pt>
                <c:pt idx="38">
                  <c:v>1213</c:v>
                </c:pt>
                <c:pt idx="39">
                  <c:v>1286</c:v>
                </c:pt>
                <c:pt idx="40">
                  <c:v>1357</c:v>
                </c:pt>
                <c:pt idx="41">
                  <c:v>1418</c:v>
                </c:pt>
                <c:pt idx="42">
                  <c:v>1493</c:v>
                </c:pt>
                <c:pt idx="43">
                  <c:v>1570</c:v>
                </c:pt>
                <c:pt idx="44">
                  <c:v>1640</c:v>
                </c:pt>
                <c:pt idx="45">
                  <c:v>1729</c:v>
                </c:pt>
                <c:pt idx="46">
                  <c:v>1814</c:v>
                </c:pt>
                <c:pt idx="47">
                  <c:v>1910</c:v>
                </c:pt>
                <c:pt idx="48">
                  <c:v>2007</c:v>
                </c:pt>
                <c:pt idx="49">
                  <c:v>2113</c:v>
                </c:pt>
                <c:pt idx="50">
                  <c:v>2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92.3906796197946</c:v>
                </c:pt>
                <c:pt idx="43">
                  <c:v>1574.6257753358059</c:v>
                </c:pt>
                <c:pt idx="44">
                  <c:v>1658.4763945013476</c:v>
                </c:pt>
                <c:pt idx="45">
                  <c:v>1743.474636368363</c:v>
                </c:pt>
                <c:pt idx="46">
                  <c:v>1831.2843234284246</c:v>
                </c:pt>
                <c:pt idx="47">
                  <c:v>1921.0120346059089</c:v>
                </c:pt>
                <c:pt idx="48">
                  <c:v>2013.0482154263159</c:v>
                </c:pt>
                <c:pt idx="49">
                  <c:v>2106.6005991366537</c:v>
                </c:pt>
                <c:pt idx="50">
                  <c:v>2201.3614262280544</c:v>
                </c:pt>
                <c:pt idx="51">
                  <c:v>2297.5512591488259</c:v>
                </c:pt>
                <c:pt idx="52">
                  <c:v>2395.0853259168134</c:v>
                </c:pt>
                <c:pt idx="53">
                  <c:v>2494.2958750060989</c:v>
                </c:pt>
                <c:pt idx="54">
                  <c:v>2594.7062434144837</c:v>
                </c:pt>
                <c:pt idx="55">
                  <c:v>2696.2733684240507</c:v>
                </c:pt>
                <c:pt idx="56">
                  <c:v>2798.8869068936556</c:v>
                </c:pt>
                <c:pt idx="57">
                  <c:v>2902.5397476380108</c:v>
                </c:pt>
                <c:pt idx="58">
                  <c:v>3007.0337481825864</c:v>
                </c:pt>
                <c:pt idx="59">
                  <c:v>3112.2354877967832</c:v>
                </c:pt>
                <c:pt idx="60">
                  <c:v>3218.0869950753381</c:v>
                </c:pt>
                <c:pt idx="61">
                  <c:v>3324.7821956597554</c:v>
                </c:pt>
                <c:pt idx="62">
                  <c:v>3432.0870319120049</c:v>
                </c:pt>
                <c:pt idx="63">
                  <c:v>3539.8857943690405</c:v>
                </c:pt>
                <c:pt idx="64">
                  <c:v>3648.0909470312108</c:v>
                </c:pt>
                <c:pt idx="65">
                  <c:v>3756.6151095552286</c:v>
                </c:pt>
                <c:pt idx="66">
                  <c:v>3865.3715498772654</c:v>
                </c:pt>
                <c:pt idx="67">
                  <c:v>3974.2718133817634</c:v>
                </c:pt>
                <c:pt idx="68">
                  <c:v>4083.2262422543595</c:v>
                </c:pt>
                <c:pt idx="69">
                  <c:v>4192.1442920711625</c:v>
                </c:pt>
                <c:pt idx="70">
                  <c:v>4300.9349195273799</c:v>
                </c:pt>
                <c:pt idx="71">
                  <c:v>4409.5068267418555</c:v>
                </c:pt>
                <c:pt idx="72">
                  <c:v>4517.76977832797</c:v>
                </c:pt>
                <c:pt idx="73">
                  <c:v>4625.6349781449517</c:v>
                </c:pt>
                <c:pt idx="74">
                  <c:v>4733.0150391969137</c:v>
                </c:pt>
                <c:pt idx="75">
                  <c:v>4839.8239853009472</c:v>
                </c:pt>
                <c:pt idx="76">
                  <c:v>4945.9776249098941</c:v>
                </c:pt>
                <c:pt idx="77">
                  <c:v>5051.3936750613439</c:v>
                </c:pt>
                <c:pt idx="78">
                  <c:v>5155.9921297040437</c:v>
                </c:pt>
                <c:pt idx="79">
                  <c:v>5259.6955495282846</c:v>
                </c:pt>
                <c:pt idx="80">
                  <c:v>5362.4293510263415</c:v>
                </c:pt>
                <c:pt idx="81">
                  <c:v>5464.1219652100581</c:v>
                </c:pt>
                <c:pt idx="82">
                  <c:v>5564.7048584328322</c:v>
                </c:pt>
                <c:pt idx="83">
                  <c:v>5664.1126941971406</c:v>
                </c:pt>
                <c:pt idx="84">
                  <c:v>5762.283440401543</c:v>
                </c:pt>
                <c:pt idx="85">
                  <c:v>5859.1584729766728</c:v>
                </c:pt>
                <c:pt idx="86">
                  <c:v>5954.682643503671</c:v>
                </c:pt>
                <c:pt idx="87">
                  <c:v>6048.8043899156719</c:v>
                </c:pt>
                <c:pt idx="88">
                  <c:v>6141.4758151219021</c:v>
                </c:pt>
                <c:pt idx="89">
                  <c:v>6232.6526941109687</c:v>
                </c:pt>
                <c:pt idx="90">
                  <c:v>6322.29444485556</c:v>
                </c:pt>
                <c:pt idx="91">
                  <c:v>6410.3641494045778</c:v>
                </c:pt>
                <c:pt idx="92">
                  <c:v>6496.828533906817</c:v>
                </c:pt>
                <c:pt idx="93">
                  <c:v>6581.6579415350925</c:v>
                </c:pt>
                <c:pt idx="94">
                  <c:v>6664.8262863335613</c:v>
                </c:pt>
                <c:pt idx="95">
                  <c:v>6746.3111099961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93.4843274492912</c:v>
                </c:pt>
                <c:pt idx="43">
                  <c:v>1577.3196855377473</c:v>
                </c:pt>
                <c:pt idx="44">
                  <c:v>1663.3618407568913</c:v>
                </c:pt>
                <c:pt idx="45">
                  <c:v>1751.2262803137221</c:v>
                </c:pt>
                <c:pt idx="46">
                  <c:v>1842.6559327573243</c:v>
                </c:pt>
                <c:pt idx="47">
                  <c:v>1936.8381707012097</c:v>
                </c:pt>
                <c:pt idx="48">
                  <c:v>2034.2364517653627</c:v>
                </c:pt>
                <c:pt idx="49">
                  <c:v>2134.126895803437</c:v>
                </c:pt>
                <c:pt idx="50">
                  <c:v>2236.263296391252</c:v>
                </c:pt>
                <c:pt idx="51">
                  <c:v>2340.9190172946837</c:v>
                </c:pt>
                <c:pt idx="52">
                  <c:v>2448.0568430176081</c:v>
                </c:pt>
                <c:pt idx="53">
                  <c:v>2558.0497975414637</c:v>
                </c:pt>
                <c:pt idx="54">
                  <c:v>2670.460533587484</c:v>
                </c:pt>
                <c:pt idx="55">
                  <c:v>2785.2761206822574</c:v>
                </c:pt>
                <c:pt idx="56">
                  <c:v>2902.4094896884794</c:v>
                </c:pt>
                <c:pt idx="57">
                  <c:v>3021.8707111122567</c:v>
                </c:pt>
                <c:pt idx="58">
                  <c:v>3143.4737257896113</c:v>
                </c:pt>
                <c:pt idx="59">
                  <c:v>3267.0914569679335</c:v>
                </c:pt>
                <c:pt idx="60">
                  <c:v>3392.6663552541722</c:v>
                </c:pt>
                <c:pt idx="61">
                  <c:v>3520.3869815883572</c:v>
                </c:pt>
                <c:pt idx="62">
                  <c:v>3650.010069663419</c:v>
                </c:pt>
                <c:pt idx="63">
                  <c:v>3781.4040297113861</c:v>
                </c:pt>
                <c:pt idx="64">
                  <c:v>3914.4592559765752</c:v>
                </c:pt>
                <c:pt idx="65">
                  <c:v>4049.0613234154939</c:v>
                </c:pt>
                <c:pt idx="66">
                  <c:v>4185.0918151356273</c:v>
                </c:pt>
                <c:pt idx="67">
                  <c:v>4322.4252191838023</c:v>
                </c:pt>
                <c:pt idx="68">
                  <c:v>4460.9297923463819</c:v>
                </c:pt>
                <c:pt idx="69">
                  <c:v>4600.4681076607776</c:v>
                </c:pt>
                <c:pt idx="70">
                  <c:v>4740.8977413261509</c:v>
                </c:pt>
                <c:pt idx="71">
                  <c:v>4882.071759511723</c:v>
                </c:pt>
                <c:pt idx="72">
                  <c:v>5023.8407742593354</c:v>
                </c:pt>
                <c:pt idx="73">
                  <c:v>5166.0536821768874</c:v>
                </c:pt>
                <c:pt idx="74">
                  <c:v>5308.5578691913024</c:v>
                </c:pt>
                <c:pt idx="75">
                  <c:v>5451.1995000772458</c:v>
                </c:pt>
                <c:pt idx="76">
                  <c:v>5593.8243363063475</c:v>
                </c:pt>
                <c:pt idx="77">
                  <c:v>5736.2782176868468</c:v>
                </c:pt>
                <c:pt idx="78">
                  <c:v>5878.407893059999</c:v>
                </c:pt>
                <c:pt idx="79">
                  <c:v>6020.0617488561938</c:v>
                </c:pt>
                <c:pt idx="80">
                  <c:v>6161.0905474219726</c:v>
                </c:pt>
                <c:pt idx="81">
                  <c:v>6301.34798181529</c:v>
                </c:pt>
                <c:pt idx="82">
                  <c:v>6440.6910400109564</c:v>
                </c:pt>
                <c:pt idx="83">
                  <c:v>6578.9805596175029</c:v>
                </c:pt>
                <c:pt idx="84">
                  <c:v>6716.0816951071602</c:v>
                </c:pt>
                <c:pt idx="85">
                  <c:v>6851.864371314452</c:v>
                </c:pt>
                <c:pt idx="86">
                  <c:v>6986.2036714155274</c:v>
                </c:pt>
                <c:pt idx="87">
                  <c:v>7118.9802707609888</c:v>
                </c:pt>
                <c:pt idx="88">
                  <c:v>7250.0808059944229</c:v>
                </c:pt>
                <c:pt idx="89">
                  <c:v>7379.3981266447445</c:v>
                </c:pt>
                <c:pt idx="90">
                  <c:v>7506.8314760943313</c:v>
                </c:pt>
                <c:pt idx="91">
                  <c:v>7632.2867200164255</c:v>
                </c:pt>
                <c:pt idx="92">
                  <c:v>7755.6764950472298</c:v>
                </c:pt>
                <c:pt idx="93">
                  <c:v>7876.920324607463</c:v>
                </c:pt>
                <c:pt idx="94">
                  <c:v>7995.9446850196364</c:v>
                </c:pt>
                <c:pt idx="95">
                  <c:v>8112.6830693253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94.5841791768044</c:v>
                </c:pt>
                <c:pt idx="43">
                  <c:v>1580.0365445280831</c:v>
                </c:pt>
                <c:pt idx="44">
                  <c:v>1668.3053147382977</c:v>
                </c:pt>
                <c:pt idx="45">
                  <c:v>1759.0992898064014</c:v>
                </c:pt>
                <c:pt idx="46">
                  <c:v>1854.2524472620698</c:v>
                </c:pt>
                <c:pt idx="47">
                  <c:v>1953.0468200744008</c:v>
                </c:pt>
                <c:pt idx="48">
                  <c:v>2056.0345238864434</c:v>
                </c:pt>
                <c:pt idx="49">
                  <c:v>2162.5773860190016</c:v>
                </c:pt>
                <c:pt idx="50">
                  <c:v>2272.5095210795848</c:v>
                </c:pt>
                <c:pt idx="51">
                  <c:v>2386.1771032424003</c:v>
                </c:pt>
                <c:pt idx="52">
                  <c:v>2503.6114461324996</c:v>
                </c:pt>
                <c:pt idx="53">
                  <c:v>2625.2479034984513</c:v>
                </c:pt>
                <c:pt idx="54">
                  <c:v>2750.7102468468292</c:v>
                </c:pt>
                <c:pt idx="55">
                  <c:v>2880.0373546261626</c:v>
                </c:pt>
                <c:pt idx="56">
                  <c:v>3013.1867550151987</c:v>
                </c:pt>
                <c:pt idx="57">
                  <c:v>3150.2062252226683</c:v>
                </c:pt>
                <c:pt idx="58">
                  <c:v>3290.9412309643385</c:v>
                </c:pt>
                <c:pt idx="59">
                  <c:v>3435.2890426251947</c:v>
                </c:pt>
                <c:pt idx="60">
                  <c:v>3583.2086408996593</c:v>
                </c:pt>
                <c:pt idx="61">
                  <c:v>3734.8971052159059</c:v>
                </c:pt>
                <c:pt idx="62">
                  <c:v>3890.113280313406</c:v>
                </c:pt>
                <c:pt idx="63">
                  <c:v>4048.718198698768</c:v>
                </c:pt>
                <c:pt idx="64">
                  <c:v>4210.5856219990183</c:v>
                </c:pt>
                <c:pt idx="65">
                  <c:v>4375.5764427110225</c:v>
                </c:pt>
                <c:pt idx="66">
                  <c:v>4543.5396944028416</c:v>
                </c:pt>
                <c:pt idx="67">
                  <c:v>4714.3083733482872</c:v>
                </c:pt>
                <c:pt idx="68">
                  <c:v>4887.7006024264629</c:v>
                </c:pt>
                <c:pt idx="69">
                  <c:v>5063.5203793283999</c:v>
                </c:pt>
                <c:pt idx="70">
                  <c:v>5241.5585965456567</c:v>
                </c:pt>
                <c:pt idx="71">
                  <c:v>5421.5938363017012</c:v>
                </c:pt>
                <c:pt idx="72">
                  <c:v>5603.3953905653434</c:v>
                </c:pt>
                <c:pt idx="73">
                  <c:v>5786.7245425068431</c:v>
                </c:pt>
                <c:pt idx="74">
                  <c:v>5971.3352014368047</c:v>
                </c:pt>
                <c:pt idx="75">
                  <c:v>6156.9747276953567</c:v>
                </c:pt>
                <c:pt idx="76">
                  <c:v>6343.3855128161176</c:v>
                </c:pt>
                <c:pt idx="77">
                  <c:v>6530.306147342435</c:v>
                </c:pt>
                <c:pt idx="78">
                  <c:v>6717.4730925868644</c:v>
                </c:pt>
                <c:pt idx="79">
                  <c:v>6904.6222404804621</c:v>
                </c:pt>
                <c:pt idx="80">
                  <c:v>7091.4905128160972</c:v>
                </c:pt>
                <c:pt idx="81">
                  <c:v>7277.8172202244277</c:v>
                </c:pt>
                <c:pt idx="82">
                  <c:v>7463.3451696078155</c:v>
                </c:pt>
                <c:pt idx="83">
                  <c:v>7647.822020503796</c:v>
                </c:pt>
                <c:pt idx="84">
                  <c:v>7831.0015052207445</c:v>
                </c:pt>
                <c:pt idx="85">
                  <c:v>8012.6446099851937</c:v>
                </c:pt>
                <c:pt idx="86">
                  <c:v>8192.5206365430895</c:v>
                </c:pt>
                <c:pt idx="87">
                  <c:v>8370.408290645606</c:v>
                </c:pt>
                <c:pt idx="88">
                  <c:v>8546.096640300475</c:v>
                </c:pt>
                <c:pt idx="89">
                  <c:v>8719.3858717235962</c:v>
                </c:pt>
                <c:pt idx="90">
                  <c:v>8890.087901581679</c:v>
                </c:pt>
                <c:pt idx="91">
                  <c:v>9058.0270010583408</c:v>
                </c:pt>
                <c:pt idx="92">
                  <c:v>9223.0402594178577</c:v>
                </c:pt>
                <c:pt idx="93">
                  <c:v>9384.9779499016749</c:v>
                </c:pt>
                <c:pt idx="94">
                  <c:v>9543.7037754012599</c:v>
                </c:pt>
                <c:pt idx="95">
                  <c:v>9699.0950596200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41</c:v>
                </c:pt>
                <c:pt idx="2">
                  <c:v>45</c:v>
                </c:pt>
                <c:pt idx="3">
                  <c:v>48</c:v>
                </c:pt>
                <c:pt idx="4">
                  <c:v>55</c:v>
                </c:pt>
                <c:pt idx="5">
                  <c:v>62</c:v>
                </c:pt>
                <c:pt idx="6">
                  <c:v>62</c:v>
                </c:pt>
                <c:pt idx="7">
                  <c:v>63</c:v>
                </c:pt>
                <c:pt idx="8">
                  <c:v>64</c:v>
                </c:pt>
                <c:pt idx="9">
                  <c:v>66</c:v>
                </c:pt>
                <c:pt idx="10">
                  <c:v>69</c:v>
                </c:pt>
                <c:pt idx="11">
                  <c:v>71</c:v>
                </c:pt>
                <c:pt idx="12">
                  <c:v>71</c:v>
                </c:pt>
                <c:pt idx="13">
                  <c:v>74</c:v>
                </c:pt>
                <c:pt idx="14">
                  <c:v>78</c:v>
                </c:pt>
                <c:pt idx="15">
                  <c:v>78</c:v>
                </c:pt>
                <c:pt idx="16">
                  <c:v>79</c:v>
                </c:pt>
                <c:pt idx="17">
                  <c:v>87</c:v>
                </c:pt>
                <c:pt idx="18">
                  <c:v>89</c:v>
                </c:pt>
                <c:pt idx="19">
                  <c:v>95</c:v>
                </c:pt>
                <c:pt idx="20">
                  <c:v>96</c:v>
                </c:pt>
                <c:pt idx="21">
                  <c:v>98</c:v>
                </c:pt>
                <c:pt idx="22">
                  <c:v>102</c:v>
                </c:pt>
                <c:pt idx="23">
                  <c:v>106</c:v>
                </c:pt>
                <c:pt idx="24">
                  <c:v>111</c:v>
                </c:pt>
                <c:pt idx="25">
                  <c:v>116</c:v>
                </c:pt>
                <c:pt idx="26">
                  <c:v>126</c:v>
                </c:pt>
                <c:pt idx="27">
                  <c:v>129</c:v>
                </c:pt>
                <c:pt idx="28">
                  <c:v>138</c:v>
                </c:pt>
                <c:pt idx="29">
                  <c:v>145</c:v>
                </c:pt>
                <c:pt idx="30">
                  <c:v>149</c:v>
                </c:pt>
                <c:pt idx="31">
                  <c:v>153</c:v>
                </c:pt>
                <c:pt idx="32">
                  <c:v>155</c:v>
                </c:pt>
                <c:pt idx="33">
                  <c:v>171</c:v>
                </c:pt>
                <c:pt idx="34">
                  <c:v>178</c:v>
                </c:pt>
                <c:pt idx="35">
                  <c:v>190</c:v>
                </c:pt>
                <c:pt idx="36">
                  <c:v>195</c:v>
                </c:pt>
                <c:pt idx="37">
                  <c:v>205</c:v>
                </c:pt>
                <c:pt idx="38">
                  <c:v>221</c:v>
                </c:pt>
                <c:pt idx="39">
                  <c:v>235</c:v>
                </c:pt>
                <c:pt idx="40">
                  <c:v>255</c:v>
                </c:pt>
                <c:pt idx="41">
                  <c:v>263</c:v>
                </c:pt>
                <c:pt idx="42">
                  <c:v>275</c:v>
                </c:pt>
                <c:pt idx="43">
                  <c:v>285</c:v>
                </c:pt>
                <c:pt idx="44">
                  <c:v>293</c:v>
                </c:pt>
                <c:pt idx="45">
                  <c:v>306</c:v>
                </c:pt>
                <c:pt idx="46">
                  <c:v>318</c:v>
                </c:pt>
                <c:pt idx="47">
                  <c:v>338</c:v>
                </c:pt>
                <c:pt idx="48">
                  <c:v>351</c:v>
                </c:pt>
                <c:pt idx="49">
                  <c:v>374</c:v>
                </c:pt>
                <c:pt idx="50">
                  <c:v>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5.63404524976306</c:v>
                </c:pt>
                <c:pt idx="43">
                  <c:v>288.55124986661866</c:v>
                </c:pt>
                <c:pt idx="44">
                  <c:v>301.71746782134244</c:v>
                </c:pt>
                <c:pt idx="45">
                  <c:v>315.05991338887338</c:v>
                </c:pt>
                <c:pt idx="46">
                  <c:v>328.83664795593324</c:v>
                </c:pt>
                <c:pt idx="47">
                  <c:v>342.91033813588808</c:v>
                </c:pt>
                <c:pt idx="48">
                  <c:v>357.34865779721667</c:v>
                </c:pt>
                <c:pt idx="49">
                  <c:v>372.0233633218154</c:v>
                </c:pt>
                <c:pt idx="50">
                  <c:v>386.88303405712327</c:v>
                </c:pt>
                <c:pt idx="51">
                  <c:v>401.96774400660081</c:v>
                </c:pt>
                <c:pt idx="52">
                  <c:v>417.26812104564999</c:v>
                </c:pt>
                <c:pt idx="53">
                  <c:v>432.82958777602516</c:v>
                </c:pt>
                <c:pt idx="54">
                  <c:v>448.57587974195457</c:v>
                </c:pt>
                <c:pt idx="55">
                  <c:v>464.50398318407878</c:v>
                </c:pt>
                <c:pt idx="56">
                  <c:v>480.59803239960763</c:v>
                </c:pt>
                <c:pt idx="57">
                  <c:v>496.85759456903941</c:v>
                </c:pt>
                <c:pt idx="58">
                  <c:v>513.24983236911396</c:v>
                </c:pt>
                <c:pt idx="59">
                  <c:v>529.75539877367737</c:v>
                </c:pt>
                <c:pt idx="60">
                  <c:v>546.36505689090507</c:v>
                </c:pt>
                <c:pt idx="61">
                  <c:v>563.10688939116312</c:v>
                </c:pt>
                <c:pt idx="62">
                  <c:v>579.9454981576182</c:v>
                </c:pt>
                <c:pt idx="63">
                  <c:v>596.86300836054511</c:v>
                </c:pt>
                <c:pt idx="64">
                  <c:v>613.84570236348043</c:v>
                </c:pt>
                <c:pt idx="65">
                  <c:v>630.87988400311019</c:v>
                </c:pt>
                <c:pt idx="66">
                  <c:v>647.95195430522642</c:v>
                </c:pt>
                <c:pt idx="67">
                  <c:v>665.04804000105923</c:v>
                </c:pt>
                <c:pt idx="68">
                  <c:v>682.1540724528129</c:v>
                </c:pt>
                <c:pt idx="69">
                  <c:v>699.25583875259645</c:v>
                </c:pt>
                <c:pt idx="70">
                  <c:v>716.33904371910785</c:v>
                </c:pt>
                <c:pt idx="71">
                  <c:v>733.389349987375</c:v>
                </c:pt>
                <c:pt idx="72">
                  <c:v>750.39258271630388</c:v>
                </c:pt>
                <c:pt idx="73">
                  <c:v>767.33478842324223</c:v>
                </c:pt>
                <c:pt idx="74">
                  <c:v>784.20223007876234</c:v>
                </c:pt>
                <c:pt idx="75">
                  <c:v>800.98138833254882</c:v>
                </c:pt>
                <c:pt idx="76">
                  <c:v>817.65901934834244</c:v>
                </c:pt>
                <c:pt idx="77">
                  <c:v>834.22217444395596</c:v>
                </c:pt>
                <c:pt idx="78">
                  <c:v>850.65825875136602</c:v>
                </c:pt>
                <c:pt idx="79">
                  <c:v>866.955077338965</c:v>
                </c:pt>
                <c:pt idx="80">
                  <c:v>883.10087998160088</c:v>
                </c:pt>
                <c:pt idx="81">
                  <c:v>899.08438584767168</c:v>
                </c:pt>
                <c:pt idx="82">
                  <c:v>914.8947882383884</c:v>
                </c:pt>
                <c:pt idx="83">
                  <c:v>930.52178025126364</c:v>
                </c:pt>
                <c:pt idx="84">
                  <c:v>945.95557167991558</c:v>
                </c:pt>
                <c:pt idx="85">
                  <c:v>961.18690548661766</c:v>
                </c:pt>
                <c:pt idx="86">
                  <c:v>976.20706886836433</c:v>
                </c:pt>
                <c:pt idx="87">
                  <c:v>991.00791064745215</c:v>
                </c:pt>
                <c:pt idx="88">
                  <c:v>1005.5818535022652</c:v>
                </c:pt>
                <c:pt idx="89">
                  <c:v>1019.9218956156612</c:v>
                </c:pt>
                <c:pt idx="90">
                  <c:v>1034.0216068055829</c:v>
                </c:pt>
                <c:pt idx="91">
                  <c:v>1047.8751319427124</c:v>
                </c:pt>
                <c:pt idx="92">
                  <c:v>1061.4771880590497</c:v>
                </c:pt>
                <c:pt idx="93">
                  <c:v>1074.8230602933368</c:v>
                </c:pt>
                <c:pt idx="94">
                  <c:v>1087.9085949073012</c:v>
                </c:pt>
                <c:pt idx="95">
                  <c:v>1100.7302074625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5.80387924306717</c:v>
                </c:pt>
                <c:pt idx="43">
                  <c:v>288.96965604697596</c:v>
                </c:pt>
                <c:pt idx="44">
                  <c:v>302.47641319735931</c:v>
                </c:pt>
                <c:pt idx="45">
                  <c:v>316.2644068492163</c:v>
                </c:pt>
                <c:pt idx="46">
                  <c:v>330.60407695703668</c:v>
                </c:pt>
                <c:pt idx="47">
                  <c:v>345.37073812719143</c:v>
                </c:pt>
                <c:pt idx="48">
                  <c:v>360.64354447921687</c:v>
                </c:pt>
                <c:pt idx="49">
                  <c:v>376.30503090834623</c:v>
                </c:pt>
                <c:pt idx="50">
                  <c:v>392.31348093930001</c:v>
                </c:pt>
                <c:pt idx="51">
                  <c:v>408.71730203247336</c:v>
                </c:pt>
                <c:pt idx="52">
                  <c:v>425.51465337882019</c:v>
                </c:pt>
                <c:pt idx="53">
                  <c:v>442.75745705961407</c:v>
                </c:pt>
                <c:pt idx="54">
                  <c:v>460.3756863241764</c:v>
                </c:pt>
                <c:pt idx="55">
                  <c:v>478.37113725653722</c:v>
                </c:pt>
                <c:pt idx="56">
                  <c:v>496.73169523872338</c:v>
                </c:pt>
                <c:pt idx="57">
                  <c:v>515.45973185559831</c:v>
                </c:pt>
                <c:pt idx="58">
                  <c:v>534.52441691871309</c:v>
                </c:pt>
                <c:pt idx="59">
                  <c:v>553.90750474972003</c:v>
                </c:pt>
                <c:pt idx="60">
                  <c:v>573.599927798566</c:v>
                </c:pt>
                <c:pt idx="61">
                  <c:v>593.62902717502732</c:v>
                </c:pt>
                <c:pt idx="62">
                  <c:v>613.95804013970428</c:v>
                </c:pt>
                <c:pt idx="63">
                  <c:v>634.56668630120612</c:v>
                </c:pt>
                <c:pt idx="64">
                  <c:v>655.43787373332486</c:v>
                </c:pt>
                <c:pt idx="65">
                  <c:v>676.55374932231928</c:v>
                </c:pt>
                <c:pt idx="66">
                  <c:v>697.89582538949389</c:v>
                </c:pt>
                <c:pt idx="67">
                  <c:v>719.44449330036309</c:v>
                </c:pt>
                <c:pt idx="68">
                  <c:v>741.17915489955089</c:v>
                </c:pt>
                <c:pt idx="69">
                  <c:v>763.07830998576264</c:v>
                </c:pt>
                <c:pt idx="70">
                  <c:v>785.11966531957853</c:v>
                </c:pt>
                <c:pt idx="71">
                  <c:v>807.2802132819678</c:v>
                </c:pt>
                <c:pt idx="72">
                  <c:v>829.53655118787162</c:v>
                </c:pt>
                <c:pt idx="73">
                  <c:v>851.86499655928719</c:v>
                </c:pt>
                <c:pt idx="74">
                  <c:v>874.24161878873133</c:v>
                </c:pt>
                <c:pt idx="75">
                  <c:v>896.6422856070734</c:v>
                </c:pt>
                <c:pt idx="76">
                  <c:v>919.04279005308513</c:v>
                </c:pt>
                <c:pt idx="77">
                  <c:v>941.41892616497</c:v>
                </c:pt>
                <c:pt idx="78">
                  <c:v>963.74662040323881</c:v>
                </c:pt>
                <c:pt idx="79">
                  <c:v>986.00204677635929</c:v>
                </c:pt>
                <c:pt idx="80">
                  <c:v>1008.1617418118637</c:v>
                </c:pt>
                <c:pt idx="81">
                  <c:v>1030.2026913565812</c:v>
                </c:pt>
                <c:pt idx="82">
                  <c:v>1052.1023898034205</c:v>
                </c:pt>
                <c:pt idx="83">
                  <c:v>1073.8389275808822</c:v>
                </c:pt>
                <c:pt idx="84">
                  <c:v>1095.3910647319822</c:v>
                </c:pt>
                <c:pt idx="85">
                  <c:v>1116.7383025705494</c:v>
                </c:pt>
                <c:pt idx="86">
                  <c:v>1137.8609454520151</c:v>
                </c:pt>
                <c:pt idx="87">
                  <c:v>1158.7401691331015</c:v>
                </c:pt>
                <c:pt idx="88">
                  <c:v>1179.3580788558247</c:v>
                </c:pt>
                <c:pt idx="89">
                  <c:v>1199.6977498953688</c:v>
                </c:pt>
                <c:pt idx="90">
                  <c:v>1219.7432572702101</c:v>
                </c:pt>
                <c:pt idx="91">
                  <c:v>1239.4797121067811</c:v>
                </c:pt>
                <c:pt idx="92">
                  <c:v>1258.8932856896686</c:v>
                </c:pt>
                <c:pt idx="93">
                  <c:v>1277.9712282959422</c:v>
                </c:pt>
                <c:pt idx="94">
                  <c:v>1296.7018803220546</c:v>
                </c:pt>
                <c:pt idx="95">
                  <c:v>1315.0746827313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5.97467685749098</c:v>
                </c:pt>
                <c:pt idx="43">
                  <c:v>289.39162655589394</c:v>
                </c:pt>
                <c:pt idx="44">
                  <c:v>303.24437148877882</c:v>
                </c:pt>
                <c:pt idx="45">
                  <c:v>317.4877525645382</c:v>
                </c:pt>
                <c:pt idx="46">
                  <c:v>332.40644650916346</c:v>
                </c:pt>
                <c:pt idx="47">
                  <c:v>347.89057543547347</c:v>
                </c:pt>
                <c:pt idx="48">
                  <c:v>364.033212495741</c:v>
                </c:pt>
                <c:pt idx="49">
                  <c:v>380.73037324830779</c:v>
                </c:pt>
                <c:pt idx="50">
                  <c:v>397.95297627571313</c:v>
                </c:pt>
                <c:pt idx="51">
                  <c:v>415.76089061121957</c:v>
                </c:pt>
                <c:pt idx="52">
                  <c:v>434.16308905126863</c:v>
                </c:pt>
                <c:pt idx="53">
                  <c:v>453.22137016506468</c:v>
                </c:pt>
                <c:pt idx="54">
                  <c:v>472.87536489564752</c:v>
                </c:pt>
                <c:pt idx="55">
                  <c:v>493.13508408042333</c:v>
                </c:pt>
                <c:pt idx="56">
                  <c:v>513.99551805474823</c:v>
                </c:pt>
                <c:pt idx="57">
                  <c:v>535.46507632510884</c:v>
                </c:pt>
                <c:pt idx="58">
                  <c:v>557.51800409790792</c:v>
                </c:pt>
                <c:pt idx="59">
                  <c:v>580.14000449274613</c:v>
                </c:pt>
                <c:pt idx="60">
                  <c:v>603.32473451447822</c:v>
                </c:pt>
                <c:pt idx="61">
                  <c:v>627.10100459421858</c:v>
                </c:pt>
                <c:pt idx="62">
                  <c:v>651.43250053829183</c:v>
                </c:pt>
                <c:pt idx="63">
                  <c:v>676.29791160836521</c:v>
                </c:pt>
                <c:pt idx="64">
                  <c:v>701.67766944077152</c:v>
                </c:pt>
                <c:pt idx="65">
                  <c:v>727.55018188642191</c:v>
                </c:pt>
                <c:pt idx="66">
                  <c:v>753.8919860225684</c:v>
                </c:pt>
                <c:pt idx="67">
                  <c:v>780.6770925914999</c:v>
                </c:pt>
                <c:pt idx="68">
                  <c:v>807.87716203055345</c:v>
                </c:pt>
                <c:pt idx="69">
                  <c:v>835.4616229506521</c:v>
                </c:pt>
                <c:pt idx="70">
                  <c:v>863.39783278574987</c:v>
                </c:pt>
                <c:pt idx="71">
                  <c:v>891.65120472178774</c:v>
                </c:pt>
                <c:pt idx="72">
                  <c:v>920.18567596821072</c:v>
                </c:pt>
                <c:pt idx="73">
                  <c:v>948.96390707276976</c:v>
                </c:pt>
                <c:pt idx="74">
                  <c:v>977.94738007321359</c:v>
                </c:pt>
                <c:pt idx="75">
                  <c:v>1007.0965284394832</c:v>
                </c:pt>
                <c:pt idx="76">
                  <c:v>1036.3709824434382</c:v>
                </c:pt>
                <c:pt idx="77">
                  <c:v>1065.7297519442445</c:v>
                </c:pt>
                <c:pt idx="78">
                  <c:v>1095.1314896320714</c:v>
                </c:pt>
                <c:pt idx="79">
                  <c:v>1124.5347364799964</c:v>
                </c:pt>
                <c:pt idx="80">
                  <c:v>1153.8981712041559</c:v>
                </c:pt>
                <c:pt idx="81">
                  <c:v>1183.1808230670376</c:v>
                </c:pt>
                <c:pt idx="82">
                  <c:v>1212.3422484220382</c:v>
                </c:pt>
                <c:pt idx="83">
                  <c:v>1241.3427442496891</c:v>
                </c:pt>
                <c:pt idx="84">
                  <c:v>1270.1435402536272</c:v>
                </c:pt>
                <c:pt idx="85">
                  <c:v>1298.7069852715183</c:v>
                </c:pt>
                <c:pt idx="86">
                  <c:v>1326.9967155853637</c:v>
                </c:pt>
                <c:pt idx="87">
                  <c:v>1354.9778267077429</c:v>
                </c:pt>
                <c:pt idx="88">
                  <c:v>1382.6170246769855</c:v>
                </c:pt>
                <c:pt idx="89">
                  <c:v>1409.8827468902145</c:v>
                </c:pt>
                <c:pt idx="90">
                  <c:v>1436.7452607719219</c:v>
                </c:pt>
                <c:pt idx="91">
                  <c:v>1463.1767632790547</c:v>
                </c:pt>
                <c:pt idx="92">
                  <c:v>1489.1514555220599</c:v>
                </c:pt>
                <c:pt idx="93">
                  <c:v>1514.6456019897964</c:v>
                </c:pt>
                <c:pt idx="94">
                  <c:v>1539.6375710312686</c:v>
                </c:pt>
                <c:pt idx="95">
                  <c:v>1564.1078663338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2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18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5</c:v>
                </c:pt>
                <c:pt idx="14">
                  <c:v>25</c:v>
                </c:pt>
                <c:pt idx="15">
                  <c:v>29</c:v>
                </c:pt>
                <c:pt idx="16">
                  <c:v>31</c:v>
                </c:pt>
                <c:pt idx="17">
                  <c:v>32</c:v>
                </c:pt>
                <c:pt idx="18">
                  <c:v>33</c:v>
                </c:pt>
                <c:pt idx="19">
                  <c:v>35</c:v>
                </c:pt>
                <c:pt idx="20">
                  <c:v>37</c:v>
                </c:pt>
                <c:pt idx="21">
                  <c:v>40</c:v>
                </c:pt>
                <c:pt idx="22">
                  <c:v>41</c:v>
                </c:pt>
                <c:pt idx="23">
                  <c:v>45</c:v>
                </c:pt>
                <c:pt idx="24">
                  <c:v>46</c:v>
                </c:pt>
                <c:pt idx="25">
                  <c:v>48</c:v>
                </c:pt>
                <c:pt idx="26">
                  <c:v>55</c:v>
                </c:pt>
                <c:pt idx="27">
                  <c:v>59</c:v>
                </c:pt>
                <c:pt idx="28">
                  <c:v>63</c:v>
                </c:pt>
                <c:pt idx="29">
                  <c:v>66</c:v>
                </c:pt>
                <c:pt idx="30">
                  <c:v>67</c:v>
                </c:pt>
                <c:pt idx="31">
                  <c:v>74</c:v>
                </c:pt>
                <c:pt idx="32">
                  <c:v>81</c:v>
                </c:pt>
                <c:pt idx="33">
                  <c:v>86</c:v>
                </c:pt>
                <c:pt idx="34">
                  <c:v>93</c:v>
                </c:pt>
                <c:pt idx="35">
                  <c:v>98</c:v>
                </c:pt>
                <c:pt idx="36">
                  <c:v>103</c:v>
                </c:pt>
                <c:pt idx="37">
                  <c:v>107</c:v>
                </c:pt>
                <c:pt idx="38">
                  <c:v>112</c:v>
                </c:pt>
                <c:pt idx="39">
                  <c:v>115</c:v>
                </c:pt>
                <c:pt idx="40">
                  <c:v>117</c:v>
                </c:pt>
                <c:pt idx="41">
                  <c:v>120</c:v>
                </c:pt>
                <c:pt idx="42">
                  <c:v>130</c:v>
                </c:pt>
                <c:pt idx="43">
                  <c:v>135</c:v>
                </c:pt>
                <c:pt idx="44">
                  <c:v>142</c:v>
                </c:pt>
                <c:pt idx="45">
                  <c:v>148</c:v>
                </c:pt>
                <c:pt idx="46">
                  <c:v>155</c:v>
                </c:pt>
                <c:pt idx="47">
                  <c:v>162</c:v>
                </c:pt>
                <c:pt idx="48">
                  <c:v>165</c:v>
                </c:pt>
                <c:pt idx="49">
                  <c:v>169</c:v>
                </c:pt>
                <c:pt idx="50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2.1717300340944</c:v>
                </c:pt>
                <c:pt idx="43">
                  <c:v>127.45657828791566</c:v>
                </c:pt>
                <c:pt idx="44">
                  <c:v>132.84132774070912</c:v>
                </c:pt>
                <c:pt idx="45">
                  <c:v>138.296495450077</c:v>
                </c:pt>
                <c:pt idx="46">
                  <c:v>143.92629342204722</c:v>
                </c:pt>
                <c:pt idx="47">
                  <c:v>149.67578506205493</c:v>
                </c:pt>
                <c:pt idx="48">
                  <c:v>155.57530146456492</c:v>
                </c:pt>
                <c:pt idx="49">
                  <c:v>161.57079177409631</c:v>
                </c:pt>
                <c:pt idx="50">
                  <c:v>167.63993519386284</c:v>
                </c:pt>
                <c:pt idx="51">
                  <c:v>173.80138945132103</c:v>
                </c:pt>
                <c:pt idx="52">
                  <c:v>180.0529633620107</c:v>
                </c:pt>
                <c:pt idx="53">
                  <c:v>186.41042150997589</c:v>
                </c:pt>
                <c:pt idx="54">
                  <c:v>192.84198164130811</c:v>
                </c:pt>
                <c:pt idx="55">
                  <c:v>199.3479734879007</c:v>
                </c:pt>
                <c:pt idx="56">
                  <c:v>205.92251700396582</c:v>
                </c:pt>
                <c:pt idx="57">
                  <c:v>212.56572020241447</c:v>
                </c:pt>
                <c:pt idx="58">
                  <c:v>219.26343414335352</c:v>
                </c:pt>
                <c:pt idx="59">
                  <c:v>226.00841430584023</c:v>
                </c:pt>
                <c:pt idx="60">
                  <c:v>232.79682701381284</c:v>
                </c:pt>
                <c:pt idx="61">
                  <c:v>239.63917069638276</c:v>
                </c:pt>
                <c:pt idx="62">
                  <c:v>246.52153238949785</c:v>
                </c:pt>
                <c:pt idx="63">
                  <c:v>253.43672409927365</c:v>
                </c:pt>
                <c:pt idx="64">
                  <c:v>260.37914691888153</c:v>
                </c:pt>
                <c:pt idx="65">
                  <c:v>267.34320948643824</c:v>
                </c:pt>
                <c:pt idx="66">
                  <c:v>274.32335826966425</c:v>
                </c:pt>
                <c:pt idx="67">
                  <c:v>281.31392596249037</c:v>
                </c:pt>
                <c:pt idx="68">
                  <c:v>288.30916267072911</c:v>
                </c:pt>
                <c:pt idx="69">
                  <c:v>295.30325738925256</c:v>
                </c:pt>
                <c:pt idx="70">
                  <c:v>302.29036382255191</c:v>
                </c:pt>
                <c:pt idx="71">
                  <c:v>309.26461750147712</c:v>
                </c:pt>
                <c:pt idx="72">
                  <c:v>316.22021863010877</c:v>
                </c:pt>
                <c:pt idx="73">
                  <c:v>323.1514560134525</c:v>
                </c:pt>
                <c:pt idx="74">
                  <c:v>330.05270497677424</c:v>
                </c:pt>
                <c:pt idx="75">
                  <c:v>336.91842826878883</c:v>
                </c:pt>
                <c:pt idx="76">
                  <c:v>343.74319935552302</c:v>
                </c:pt>
                <c:pt idx="77">
                  <c:v>350.52171052674532</c:v>
                </c:pt>
                <c:pt idx="78">
                  <c:v>357.24879723100929</c:v>
                </c:pt>
                <c:pt idx="79">
                  <c:v>363.91945719440525</c:v>
                </c:pt>
                <c:pt idx="80">
                  <c:v>370.52886847301556</c:v>
                </c:pt>
                <c:pt idx="81">
                  <c:v>377.07239945165321</c:v>
                </c:pt>
                <c:pt idx="82">
                  <c:v>383.54561139481075</c:v>
                </c:pt>
                <c:pt idx="83">
                  <c:v>389.94426904948489</c:v>
                </c:pt>
                <c:pt idx="84">
                  <c:v>396.26434758186036</c:v>
                </c:pt>
                <c:pt idx="85">
                  <c:v>402.50203939750617</c:v>
                </c:pt>
                <c:pt idx="86">
                  <c:v>408.65375885420644</c:v>
                </c:pt>
                <c:pt idx="87">
                  <c:v>414.71614937783482</c:v>
                </c:pt>
                <c:pt idx="88">
                  <c:v>420.6860884166897</c:v>
                </c:pt>
                <c:pt idx="89">
                  <c:v>426.56068833784457</c:v>
                </c:pt>
                <c:pt idx="90">
                  <c:v>432.33729513607324</c:v>
                </c:pt>
                <c:pt idx="91">
                  <c:v>438.01348987570026</c:v>
                </c:pt>
                <c:pt idx="92">
                  <c:v>443.5870876102943</c:v>
                </c:pt>
                <c:pt idx="93">
                  <c:v>449.05613580648469</c:v>
                </c:pt>
                <c:pt idx="94">
                  <c:v>454.4189115974163</c:v>
                </c:pt>
                <c:pt idx="95">
                  <c:v>459.67392481913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2.24040107766091</c:v>
                </c:pt>
                <c:pt idx="43">
                  <c:v>127.6257850956267</c:v>
                </c:pt>
                <c:pt idx="44">
                  <c:v>133.14831855695851</c:v>
                </c:pt>
                <c:pt idx="45">
                  <c:v>138.78383086991718</c:v>
                </c:pt>
                <c:pt idx="46">
                  <c:v>144.64157887272236</c:v>
                </c:pt>
                <c:pt idx="47">
                  <c:v>150.67178284119262</c:v>
                </c:pt>
                <c:pt idx="48">
                  <c:v>156.90947571544999</c:v>
                </c:pt>
                <c:pt idx="49">
                  <c:v>163.30503172341736</c:v>
                </c:pt>
                <c:pt idx="50">
                  <c:v>169.84011521003598</c:v>
                </c:pt>
                <c:pt idx="51">
                  <c:v>176.53680989542602</c:v>
                </c:pt>
                <c:pt idx="52">
                  <c:v>183.39603144734701</c:v>
                </c:pt>
                <c:pt idx="53">
                  <c:v>190.43624301889207</c:v>
                </c:pt>
                <c:pt idx="54">
                  <c:v>197.62824029199649</c:v>
                </c:pt>
                <c:pt idx="55">
                  <c:v>204.97435285324607</c:v>
                </c:pt>
                <c:pt idx="56">
                  <c:v>212.47027505205932</c:v>
                </c:pt>
                <c:pt idx="57">
                  <c:v>220.11730626197038</c:v>
                </c:pt>
                <c:pt idx="58">
                  <c:v>227.90216420095197</c:v>
                </c:pt>
                <c:pt idx="59">
                  <c:v>235.81809863870913</c:v>
                </c:pt>
                <c:pt idx="60">
                  <c:v>243.86138812410303</c:v>
                </c:pt>
                <c:pt idx="61">
                  <c:v>252.04226982078063</c:v>
                </c:pt>
                <c:pt idx="62">
                  <c:v>260.34630655679598</c:v>
                </c:pt>
                <c:pt idx="63">
                  <c:v>268.76536317287309</c:v>
                </c:pt>
                <c:pt idx="64">
                  <c:v>277.29249871270287</c:v>
                </c:pt>
                <c:pt idx="65">
                  <c:v>285.92045904727968</c:v>
                </c:pt>
                <c:pt idx="66">
                  <c:v>294.64172728495697</c:v>
                </c:pt>
                <c:pt idx="67">
                  <c:v>303.44832521105877</c:v>
                </c:pt>
                <c:pt idx="68">
                  <c:v>312.33186529212048</c:v>
                </c:pt>
                <c:pt idx="69">
                  <c:v>321.28358707884638</c:v>
                </c:pt>
                <c:pt idx="70">
                  <c:v>330.29440226736824</c:v>
                </c:pt>
                <c:pt idx="71">
                  <c:v>339.35492779453563</c:v>
                </c:pt>
                <c:pt idx="72">
                  <c:v>348.45561497085072</c:v>
                </c:pt>
                <c:pt idx="73">
                  <c:v>357.58679632644299</c:v>
                </c:pt>
                <c:pt idx="74">
                  <c:v>366.73869835793147</c:v>
                </c:pt>
                <c:pt idx="75">
                  <c:v>375.90146095231086</c:v>
                </c:pt>
                <c:pt idx="76">
                  <c:v>385.06518871120738</c:v>
                </c:pt>
                <c:pt idx="77">
                  <c:v>394.21998193426037</c:v>
                </c:pt>
                <c:pt idx="78">
                  <c:v>403.35599078016531</c:v>
                </c:pt>
                <c:pt idx="79">
                  <c:v>412.4634626544086</c:v>
                </c:pt>
                <c:pt idx="80">
                  <c:v>421.53278882984642</c:v>
                </c:pt>
                <c:pt idx="81">
                  <c:v>430.55453981570457</c:v>
                </c:pt>
                <c:pt idx="82">
                  <c:v>439.5194904303379</c:v>
                </c:pt>
                <c:pt idx="83">
                  <c:v>448.41865574458694</c:v>
                </c:pt>
                <c:pt idx="84">
                  <c:v>457.24332126366551</c:v>
                </c:pt>
                <c:pt idx="85">
                  <c:v>465.9850724200557</c:v>
                </c:pt>
                <c:pt idx="86">
                  <c:v>474.63582019110589</c:v>
                </c:pt>
                <c:pt idx="87">
                  <c:v>483.18782915667754</c:v>
                </c:pt>
                <c:pt idx="88">
                  <c:v>491.6337413065923</c:v>
                </c:pt>
                <c:pt idx="89">
                  <c:v>499.96659305870395</c:v>
                </c:pt>
                <c:pt idx="90">
                  <c:v>508.17982794942407</c:v>
                </c:pt>
                <c:pt idx="91">
                  <c:v>516.26731171274537</c:v>
                </c:pt>
                <c:pt idx="92">
                  <c:v>524.22334241051863</c:v>
                </c:pt>
                <c:pt idx="93">
                  <c:v>532.04265840548931</c:v>
                </c:pt>
                <c:pt idx="94">
                  <c:v>539.72044322262082</c:v>
                </c:pt>
                <c:pt idx="95">
                  <c:v>547.25232999991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22.30946184226978</c:v>
                </c:pt>
                <c:pt idx="43">
                  <c:v>127.79643335668412</c:v>
                </c:pt>
                <c:pt idx="44">
                  <c:v>133.45895439747866</c:v>
                </c:pt>
                <c:pt idx="45">
                  <c:v>139.27879126038317</c:v>
                </c:pt>
                <c:pt idx="46">
                  <c:v>145.37099847132328</c:v>
                </c:pt>
                <c:pt idx="47">
                  <c:v>151.69182894706697</c:v>
                </c:pt>
                <c:pt idx="48">
                  <c:v>158.28200741328743</c:v>
                </c:pt>
                <c:pt idx="49">
                  <c:v>165.09743098848173</c:v>
                </c:pt>
                <c:pt idx="50">
                  <c:v>172.12494114247613</c:v>
                </c:pt>
                <c:pt idx="51">
                  <c:v>179.39132121702562</c:v>
                </c:pt>
                <c:pt idx="52">
                  <c:v>186.90193161532699</c:v>
                </c:pt>
                <c:pt idx="53">
                  <c:v>194.6793120947728</c:v>
                </c:pt>
                <c:pt idx="54">
                  <c:v>202.69823351777865</c:v>
                </c:pt>
                <c:pt idx="55">
                  <c:v>210.96441839014</c:v>
                </c:pt>
                <c:pt idx="56">
                  <c:v>219.47650949835452</c:v>
                </c:pt>
                <c:pt idx="57">
                  <c:v>228.23832448026923</c:v>
                </c:pt>
                <c:pt idx="58">
                  <c:v>237.23870905599048</c:v>
                </c:pt>
                <c:pt idx="59">
                  <c:v>246.4725804274801</c:v>
                </c:pt>
                <c:pt idx="60">
                  <c:v>255.93738521173884</c:v>
                </c:pt>
                <c:pt idx="61">
                  <c:v>265.64401641743763</c:v>
                </c:pt>
                <c:pt idx="62">
                  <c:v>275.57826911944784</c:v>
                </c:pt>
                <c:pt idx="63">
                  <c:v>285.73164016374159</c:v>
                </c:pt>
                <c:pt idx="64">
                  <c:v>296.09623213845589</c:v>
                </c:pt>
                <c:pt idx="65">
                  <c:v>306.66331865738266</c:v>
                </c:pt>
                <c:pt idx="66">
                  <c:v>317.4234046005804</c:v>
                </c:pt>
                <c:pt idx="67">
                  <c:v>328.36595822041613</c:v>
                </c:pt>
                <c:pt idx="68">
                  <c:v>339.47948033127352</c:v>
                </c:pt>
                <c:pt idx="69">
                  <c:v>350.75155318001003</c:v>
                </c:pt>
                <c:pt idx="70">
                  <c:v>362.16890635336119</c:v>
                </c:pt>
                <c:pt idx="71">
                  <c:v>373.71746956870749</c:v>
                </c:pt>
                <c:pt idx="72">
                  <c:v>385.38256171661283</c:v>
                </c:pt>
                <c:pt idx="73">
                  <c:v>397.1489715853138</c:v>
                </c:pt>
                <c:pt idx="74">
                  <c:v>409.00099735842701</c:v>
                </c:pt>
                <c:pt idx="75">
                  <c:v>420.92249993330614</c:v>
                </c:pt>
                <c:pt idx="76">
                  <c:v>432.89700212762762</c:v>
                </c:pt>
                <c:pt idx="77">
                  <c:v>444.90776319150336</c:v>
                </c:pt>
                <c:pt idx="78">
                  <c:v>456.93788677967416</c:v>
                </c:pt>
                <c:pt idx="79">
                  <c:v>468.97042155560979</c:v>
                </c:pt>
                <c:pt idx="80">
                  <c:v>480.98846252727782</c:v>
                </c:pt>
                <c:pt idx="81">
                  <c:v>492.97523783688564</c:v>
                </c:pt>
                <c:pt idx="82">
                  <c:v>504.91418207134524</c:v>
                </c:pt>
                <c:pt idx="83">
                  <c:v>516.78902382828653</c:v>
                </c:pt>
                <c:pt idx="84">
                  <c:v>528.58386449264071</c:v>
                </c:pt>
                <c:pt idx="85">
                  <c:v>540.283254870257</c:v>
                </c:pt>
                <c:pt idx="86">
                  <c:v>551.87226469818313</c:v>
                </c:pt>
                <c:pt idx="87">
                  <c:v>563.33655326579355</c:v>
                </c:pt>
                <c:pt idx="88">
                  <c:v>574.66243163806803</c:v>
                </c:pt>
                <c:pt idx="89">
                  <c:v>585.83691296352845</c:v>
                </c:pt>
                <c:pt idx="90">
                  <c:v>596.847753884334</c:v>
                </c:pt>
                <c:pt idx="91">
                  <c:v>607.68349586331055</c:v>
                </c:pt>
                <c:pt idx="92">
                  <c:v>618.33349646641477</c:v>
                </c:pt>
                <c:pt idx="93">
                  <c:v>628.78795432326388</c:v>
                </c:pt>
                <c:pt idx="94">
                  <c:v>639.03792647803266</c:v>
                </c:pt>
                <c:pt idx="95">
                  <c:v>649.07534187292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</c:v>
                </c:pt>
                <c:pt idx="1">
                  <c:v>9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4</c:v>
                </c:pt>
                <c:pt idx="10">
                  <c:v>17</c:v>
                </c:pt>
                <c:pt idx="11">
                  <c:v>18</c:v>
                </c:pt>
                <c:pt idx="12">
                  <c:v>18</c:v>
                </c:pt>
                <c:pt idx="13">
                  <c:v>19</c:v>
                </c:pt>
                <c:pt idx="14">
                  <c:v>21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5</c:v>
                </c:pt>
                <c:pt idx="19">
                  <c:v>29</c:v>
                </c:pt>
                <c:pt idx="20">
                  <c:v>31</c:v>
                </c:pt>
                <c:pt idx="21">
                  <c:v>36</c:v>
                </c:pt>
                <c:pt idx="22">
                  <c:v>39</c:v>
                </c:pt>
                <c:pt idx="23">
                  <c:v>40</c:v>
                </c:pt>
                <c:pt idx="24">
                  <c:v>43</c:v>
                </c:pt>
                <c:pt idx="25">
                  <c:v>44</c:v>
                </c:pt>
                <c:pt idx="26">
                  <c:v>46</c:v>
                </c:pt>
                <c:pt idx="27">
                  <c:v>48</c:v>
                </c:pt>
                <c:pt idx="28">
                  <c:v>48</c:v>
                </c:pt>
                <c:pt idx="29">
                  <c:v>48</c:v>
                </c:pt>
                <c:pt idx="30">
                  <c:v>53</c:v>
                </c:pt>
                <c:pt idx="31">
                  <c:v>55</c:v>
                </c:pt>
                <c:pt idx="32">
                  <c:v>58</c:v>
                </c:pt>
                <c:pt idx="33">
                  <c:v>61</c:v>
                </c:pt>
                <c:pt idx="34">
                  <c:v>62</c:v>
                </c:pt>
                <c:pt idx="35">
                  <c:v>70</c:v>
                </c:pt>
                <c:pt idx="36">
                  <c:v>73</c:v>
                </c:pt>
                <c:pt idx="37">
                  <c:v>78</c:v>
                </c:pt>
                <c:pt idx="38">
                  <c:v>83</c:v>
                </c:pt>
                <c:pt idx="39">
                  <c:v>91</c:v>
                </c:pt>
                <c:pt idx="40">
                  <c:v>97</c:v>
                </c:pt>
                <c:pt idx="41">
                  <c:v>101</c:v>
                </c:pt>
                <c:pt idx="42">
                  <c:v>105</c:v>
                </c:pt>
                <c:pt idx="43">
                  <c:v>110</c:v>
                </c:pt>
                <c:pt idx="44">
                  <c:v>117</c:v>
                </c:pt>
                <c:pt idx="45">
                  <c:v>126</c:v>
                </c:pt>
                <c:pt idx="46">
                  <c:v>135</c:v>
                </c:pt>
                <c:pt idx="47">
                  <c:v>137</c:v>
                </c:pt>
                <c:pt idx="48">
                  <c:v>149</c:v>
                </c:pt>
                <c:pt idx="49">
                  <c:v>154</c:v>
                </c:pt>
                <c:pt idx="50">
                  <c:v>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6.96833634293698</c:v>
                </c:pt>
                <c:pt idx="43">
                  <c:v>113.07010079259069</c:v>
                </c:pt>
                <c:pt idx="44">
                  <c:v>119.28925442528578</c:v>
                </c:pt>
                <c:pt idx="45">
                  <c:v>125.59145077695375</c:v>
                </c:pt>
                <c:pt idx="46">
                  <c:v>132.09842651623003</c:v>
                </c:pt>
                <c:pt idx="47">
                  <c:v>138.74545959643265</c:v>
                </c:pt>
                <c:pt idx="48">
                  <c:v>145.56483615348191</c:v>
                </c:pt>
                <c:pt idx="49">
                  <c:v>152.49578636194633</c:v>
                </c:pt>
                <c:pt idx="50">
                  <c:v>159.51386572517055</c:v>
                </c:pt>
                <c:pt idx="51">
                  <c:v>166.63827691699458</c:v>
                </c:pt>
                <c:pt idx="52">
                  <c:v>173.86479088521159</c:v>
                </c:pt>
                <c:pt idx="53">
                  <c:v>181.2145242489095</c:v>
                </c:pt>
                <c:pt idx="54">
                  <c:v>188.65138166521069</c:v>
                </c:pt>
                <c:pt idx="55">
                  <c:v>196.17412791015431</c:v>
                </c:pt>
                <c:pt idx="56">
                  <c:v>203.77534209799376</c:v>
                </c:pt>
                <c:pt idx="57">
                  <c:v>211.45485414546212</c:v>
                </c:pt>
                <c:pt idx="58">
                  <c:v>219.19706643000518</c:v>
                </c:pt>
                <c:pt idx="59">
                  <c:v>226.99292079076059</c:v>
                </c:pt>
                <c:pt idx="60">
                  <c:v>234.83804737304393</c:v>
                </c:pt>
                <c:pt idx="61">
                  <c:v>242.74559224413639</c:v>
                </c:pt>
                <c:pt idx="62">
                  <c:v>250.6989028824602</c:v>
                </c:pt>
                <c:pt idx="63">
                  <c:v>258.68955075668089</c:v>
                </c:pt>
                <c:pt idx="64">
                  <c:v>266.71105761672288</c:v>
                </c:pt>
                <c:pt idx="65">
                  <c:v>274.75695520634895</c:v>
                </c:pt>
                <c:pt idx="66">
                  <c:v>282.82082094591533</c:v>
                </c:pt>
                <c:pt idx="67">
                  <c:v>290.89610249890688</c:v>
                </c:pt>
                <c:pt idx="68">
                  <c:v>298.97615492113221</c:v>
                </c:pt>
                <c:pt idx="69">
                  <c:v>307.05426486741152</c:v>
                </c:pt>
                <c:pt idx="70">
                  <c:v>315.12367993219783</c:v>
                </c:pt>
                <c:pt idx="71">
                  <c:v>323.17762767313252</c:v>
                </c:pt>
                <c:pt idx="72">
                  <c:v>331.20941220059115</c:v>
                </c:pt>
                <c:pt idx="73">
                  <c:v>339.21244195236852</c:v>
                </c:pt>
                <c:pt idx="74">
                  <c:v>347.18022736768103</c:v>
                </c:pt>
                <c:pt idx="75">
                  <c:v>355.10638151466594</c:v>
                </c:pt>
                <c:pt idx="76">
                  <c:v>362.98464736576273</c:v>
                </c:pt>
                <c:pt idx="77">
                  <c:v>370.80890708373204</c:v>
                </c:pt>
                <c:pt idx="78">
                  <c:v>378.57320977163795</c:v>
                </c:pt>
                <c:pt idx="79">
                  <c:v>386.27179328982163</c:v>
                </c:pt>
                <c:pt idx="80">
                  <c:v>393.89910537227064</c:v>
                </c:pt>
                <c:pt idx="81">
                  <c:v>401.44981527594206</c:v>
                </c:pt>
                <c:pt idx="82">
                  <c:v>408.9188160932477</c:v>
                </c:pt>
                <c:pt idx="83">
                  <c:v>416.30123688726871</c:v>
                </c:pt>
                <c:pt idx="84">
                  <c:v>423.59245067750368</c:v>
                </c:pt>
                <c:pt idx="85">
                  <c:v>430.78808223082314</c:v>
                </c:pt>
                <c:pt idx="86">
                  <c:v>437.88401331114659</c:v>
                </c:pt>
                <c:pt idx="87">
                  <c:v>444.8763908944174</c:v>
                </c:pt>
                <c:pt idx="88">
                  <c:v>451.76163294013088</c:v>
                </c:pt>
                <c:pt idx="89">
                  <c:v>458.53642919674769</c:v>
                </c:pt>
                <c:pt idx="90">
                  <c:v>465.19773940909533</c:v>
                </c:pt>
                <c:pt idx="91">
                  <c:v>471.74279493803692</c:v>
                </c:pt>
                <c:pt idx="92">
                  <c:v>478.16909740701266</c:v>
                </c:pt>
                <c:pt idx="93">
                  <c:v>484.47441679672642</c:v>
                </c:pt>
                <c:pt idx="94">
                  <c:v>490.65678815954487</c:v>
                </c:pt>
                <c:pt idx="95">
                  <c:v>496.71451544479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7.04846359419729</c:v>
                </c:pt>
                <c:pt idx="43">
                  <c:v>113.26750709830384</c:v>
                </c:pt>
                <c:pt idx="44">
                  <c:v>119.64733707622871</c:v>
                </c:pt>
                <c:pt idx="45">
                  <c:v>126.15976488807092</c:v>
                </c:pt>
                <c:pt idx="46">
                  <c:v>132.93237216034194</c:v>
                </c:pt>
                <c:pt idx="47">
                  <c:v>139.90640929189448</c:v>
                </c:pt>
                <c:pt idx="48">
                  <c:v>147.11958599311441</c:v>
                </c:pt>
                <c:pt idx="49">
                  <c:v>154.51622577641362</c:v>
                </c:pt>
                <c:pt idx="50">
                  <c:v>162.07646994576692</c:v>
                </c:pt>
                <c:pt idx="51">
                  <c:v>169.82345968141345</c:v>
                </c:pt>
                <c:pt idx="52">
                  <c:v>177.7565266160457</c:v>
                </c:pt>
                <c:pt idx="53">
                  <c:v>185.89986231277007</c:v>
                </c:pt>
                <c:pt idx="54">
                  <c:v>194.22032108557124</c:v>
                </c:pt>
                <c:pt idx="55">
                  <c:v>202.71894361700103</c:v>
                </c:pt>
                <c:pt idx="56">
                  <c:v>211.39008572661038</c:v>
                </c:pt>
                <c:pt idx="57">
                  <c:v>220.2349073646196</c:v>
                </c:pt>
                <c:pt idx="58">
                  <c:v>229.23876451092383</c:v>
                </c:pt>
                <c:pt idx="59">
                  <c:v>238.39312452135101</c:v>
                </c:pt>
                <c:pt idx="60">
                  <c:v>247.69370271093237</c:v>
                </c:pt>
                <c:pt idx="61">
                  <c:v>257.1532999314415</c:v>
                </c:pt>
                <c:pt idx="62">
                  <c:v>266.75462315912648</c:v>
                </c:pt>
                <c:pt idx="63">
                  <c:v>276.48811199944794</c:v>
                </c:pt>
                <c:pt idx="64">
                  <c:v>286.34569891150062</c:v>
                </c:pt>
                <c:pt idx="65">
                  <c:v>296.31895657791529</c:v>
                </c:pt>
                <c:pt idx="66">
                  <c:v>306.39915754997946</c:v>
                </c:pt>
                <c:pt idx="67">
                  <c:v>316.57704454156192</c:v>
                </c:pt>
                <c:pt idx="68">
                  <c:v>326.84289230228251</c:v>
                </c:pt>
                <c:pt idx="69">
                  <c:v>337.18654901253512</c:v>
                </c:pt>
                <c:pt idx="70">
                  <c:v>347.59748783181624</c:v>
                </c:pt>
                <c:pt idx="71">
                  <c:v>358.06484416517264</c:v>
                </c:pt>
                <c:pt idx="72">
                  <c:v>368.57756631707809</c:v>
                </c:pt>
                <c:pt idx="73">
                  <c:v>379.1244699054609</c:v>
                </c:pt>
                <c:pt idx="74">
                  <c:v>389.69425279369403</c:v>
                </c:pt>
                <c:pt idx="75">
                  <c:v>400.27551709055302</c:v>
                </c:pt>
                <c:pt idx="76">
                  <c:v>410.8568290523362</c:v>
                </c:pt>
                <c:pt idx="77">
                  <c:v>421.42675483952064</c:v>
                </c:pt>
                <c:pt idx="78">
                  <c:v>431.97392264486115</c:v>
                </c:pt>
                <c:pt idx="79">
                  <c:v>442.48707711035814</c:v>
                </c:pt>
                <c:pt idx="80">
                  <c:v>452.95513358636072</c:v>
                </c:pt>
                <c:pt idx="81">
                  <c:v>463.36721911649039</c:v>
                </c:pt>
                <c:pt idx="82">
                  <c:v>473.71270051629904</c:v>
                </c:pt>
                <c:pt idx="83">
                  <c:v>483.98122571903633</c:v>
                </c:pt>
                <c:pt idx="84">
                  <c:v>494.16275854193856</c:v>
                </c:pt>
                <c:pt idx="85">
                  <c:v>504.2476125560882</c:v>
                </c:pt>
                <c:pt idx="86">
                  <c:v>514.22648030700043</c:v>
                </c:pt>
                <c:pt idx="87">
                  <c:v>524.09046561681794</c:v>
                </c:pt>
                <c:pt idx="88">
                  <c:v>533.83111102697285</c:v>
                </c:pt>
                <c:pt idx="89">
                  <c:v>543.44041700366074</c:v>
                </c:pt>
                <c:pt idx="90">
                  <c:v>552.91085603667671</c:v>
                </c:pt>
                <c:pt idx="91">
                  <c:v>562.23538984141146</c:v>
                </c:pt>
                <c:pt idx="92">
                  <c:v>571.40748075459237</c:v>
                </c:pt>
                <c:pt idx="93">
                  <c:v>580.42110066337455</c:v>
                </c:pt>
                <c:pt idx="94">
                  <c:v>589.27073629865504</c:v>
                </c:pt>
                <c:pt idx="95">
                  <c:v>597.95139419148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7.12904549013733</c:v>
                </c:pt>
                <c:pt idx="43">
                  <c:v>113.46659507481614</c:v>
                </c:pt>
                <c:pt idx="44">
                  <c:v>120.00967208512333</c:v>
                </c:pt>
                <c:pt idx="45">
                  <c:v>126.73697371203895</c:v>
                </c:pt>
                <c:pt idx="46">
                  <c:v>133.78280341728851</c:v>
                </c:pt>
                <c:pt idx="47">
                  <c:v>141.09540321030374</c:v>
                </c:pt>
                <c:pt idx="48">
                  <c:v>148.71905744965659</c:v>
                </c:pt>
                <c:pt idx="49">
                  <c:v>156.60445848166677</c:v>
                </c:pt>
                <c:pt idx="50">
                  <c:v>164.73771702540481</c:v>
                </c:pt>
                <c:pt idx="51">
                  <c:v>173.14738966561993</c:v>
                </c:pt>
                <c:pt idx="52">
                  <c:v>181.83791858781171</c:v>
                </c:pt>
                <c:pt idx="53">
                  <c:v>190.83816507838594</c:v>
                </c:pt>
                <c:pt idx="54">
                  <c:v>200.11954838612667</c:v>
                </c:pt>
                <c:pt idx="55">
                  <c:v>209.68699349505576</c:v>
                </c:pt>
                <c:pt idx="56">
                  <c:v>219.53821743850722</c:v>
                </c:pt>
                <c:pt idx="57">
                  <c:v>229.67723811109198</c:v>
                </c:pt>
                <c:pt idx="58">
                  <c:v>240.09181519014405</c:v>
                </c:pt>
                <c:pt idx="59">
                  <c:v>250.77528759582816</c:v>
                </c:pt>
                <c:pt idx="60">
                  <c:v>261.7246640881761</c:v>
                </c:pt>
                <c:pt idx="61">
                  <c:v>272.95344618380295</c:v>
                </c:pt>
                <c:pt idx="62">
                  <c:v>284.44455861571771</c:v>
                </c:pt>
                <c:pt idx="63">
                  <c:v>296.18796073548924</c:v>
                </c:pt>
                <c:pt idx="64">
                  <c:v>308.17442203491169</c:v>
                </c:pt>
                <c:pt idx="65">
                  <c:v>320.39375590225552</c:v>
                </c:pt>
                <c:pt idx="66">
                  <c:v>332.83489161650652</c:v>
                </c:pt>
                <c:pt idx="67">
                  <c:v>345.48556471487325</c:v>
                </c:pt>
                <c:pt idx="68">
                  <c:v>358.3323998038012</c:v>
                </c:pt>
                <c:pt idx="69">
                  <c:v>371.36096657313641</c:v>
                </c:pt>
                <c:pt idx="70">
                  <c:v>384.55585570466587</c:v>
                </c:pt>
                <c:pt idx="71">
                  <c:v>397.90073893386165</c:v>
                </c:pt>
                <c:pt idx="72">
                  <c:v>411.37858994311375</c:v>
                </c:pt>
                <c:pt idx="73">
                  <c:v>424.97177841400048</c:v>
                </c:pt>
                <c:pt idx="74">
                  <c:v>438.66211631220546</c:v>
                </c:pt>
                <c:pt idx="75">
                  <c:v>452.4309192876209</c:v>
                </c:pt>
                <c:pt idx="76">
                  <c:v>466.25912243835558</c:v>
                </c:pt>
                <c:pt idx="77">
                  <c:v>480.12736662127037</c:v>
                </c:pt>
                <c:pt idx="78">
                  <c:v>494.01612283434565</c:v>
                </c:pt>
                <c:pt idx="79">
                  <c:v>507.9058081839338</c:v>
                </c:pt>
                <c:pt idx="80">
                  <c:v>521.77690363591455</c:v>
                </c:pt>
                <c:pt idx="81">
                  <c:v>535.61005450549442</c:v>
                </c:pt>
                <c:pt idx="82">
                  <c:v>549.38615398268485</c:v>
                </c:pt>
                <c:pt idx="83">
                  <c:v>563.08644402575601</c:v>
                </c:pt>
                <c:pt idx="84">
                  <c:v>576.69260612473659</c:v>
                </c:pt>
                <c:pt idx="85">
                  <c:v>590.18684940149922</c:v>
                </c:pt>
                <c:pt idx="86">
                  <c:v>603.55199019358918</c:v>
                </c:pt>
                <c:pt idx="87">
                  <c:v>616.77153324247274</c:v>
                </c:pt>
                <c:pt idx="88">
                  <c:v>629.82974320059384</c:v>
                </c:pt>
                <c:pt idx="89">
                  <c:v>642.71170181491232</c:v>
                </c:pt>
                <c:pt idx="90">
                  <c:v>655.40335466103966</c:v>
                </c:pt>
                <c:pt idx="91">
                  <c:v>667.89155822124894</c:v>
                </c:pt>
                <c:pt idx="92">
                  <c:v>680.16411522431645</c:v>
                </c:pt>
                <c:pt idx="93">
                  <c:v>692.2098027098591</c:v>
                </c:pt>
                <c:pt idx="94">
                  <c:v>704.01839124595199</c:v>
                </c:pt>
                <c:pt idx="95">
                  <c:v>715.580659871565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25</c:v>
                </c:pt>
                <c:pt idx="3">
                  <c:v>27</c:v>
                </c:pt>
                <c:pt idx="4">
                  <c:v>32</c:v>
                </c:pt>
                <c:pt idx="5">
                  <c:v>35</c:v>
                </c:pt>
                <c:pt idx="6">
                  <c:v>32</c:v>
                </c:pt>
                <c:pt idx="7">
                  <c:v>30</c:v>
                </c:pt>
                <c:pt idx="8">
                  <c:v>29</c:v>
                </c:pt>
                <c:pt idx="9">
                  <c:v>30</c:v>
                </c:pt>
                <c:pt idx="10">
                  <c:v>31</c:v>
                </c:pt>
                <c:pt idx="11">
                  <c:v>31</c:v>
                </c:pt>
                <c:pt idx="12">
                  <c:v>30</c:v>
                </c:pt>
                <c:pt idx="13">
                  <c:v>29</c:v>
                </c:pt>
                <c:pt idx="14">
                  <c:v>29</c:v>
                </c:pt>
                <c:pt idx="15">
                  <c:v>26</c:v>
                </c:pt>
                <c:pt idx="16">
                  <c:v>23</c:v>
                </c:pt>
                <c:pt idx="17">
                  <c:v>27</c:v>
                </c:pt>
                <c:pt idx="18">
                  <c:v>28</c:v>
                </c:pt>
                <c:pt idx="19">
                  <c:v>20</c:v>
                </c:pt>
                <c:pt idx="20">
                  <c:v>16</c:v>
                </c:pt>
                <c:pt idx="21">
                  <c:v>23</c:v>
                </c:pt>
                <c:pt idx="22">
                  <c:v>22</c:v>
                </c:pt>
                <c:pt idx="23">
                  <c:v>25</c:v>
                </c:pt>
                <c:pt idx="24">
                  <c:v>25</c:v>
                </c:pt>
                <c:pt idx="25">
                  <c:v>33</c:v>
                </c:pt>
                <c:pt idx="26">
                  <c:v>39</c:v>
                </c:pt>
                <c:pt idx="27">
                  <c:v>29</c:v>
                </c:pt>
                <c:pt idx="28">
                  <c:v>40</c:v>
                </c:pt>
                <c:pt idx="29">
                  <c:v>38</c:v>
                </c:pt>
                <c:pt idx="30">
                  <c:v>43</c:v>
                </c:pt>
                <c:pt idx="31">
                  <c:v>46</c:v>
                </c:pt>
                <c:pt idx="32">
                  <c:v>37</c:v>
                </c:pt>
                <c:pt idx="33">
                  <c:v>57</c:v>
                </c:pt>
                <c:pt idx="34">
                  <c:v>56</c:v>
                </c:pt>
                <c:pt idx="35">
                  <c:v>59</c:v>
                </c:pt>
                <c:pt idx="36">
                  <c:v>54</c:v>
                </c:pt>
                <c:pt idx="37">
                  <c:v>59</c:v>
                </c:pt>
                <c:pt idx="38">
                  <c:v>72</c:v>
                </c:pt>
                <c:pt idx="39">
                  <c:v>74</c:v>
                </c:pt>
                <c:pt idx="40">
                  <c:v>81</c:v>
                </c:pt>
                <c:pt idx="41">
                  <c:v>85</c:v>
                </c:pt>
                <c:pt idx="42">
                  <c:v>87</c:v>
                </c:pt>
                <c:pt idx="43">
                  <c:v>90</c:v>
                </c:pt>
                <c:pt idx="44">
                  <c:v>94</c:v>
                </c:pt>
                <c:pt idx="45">
                  <c:v>98</c:v>
                </c:pt>
                <c:pt idx="46">
                  <c:v>95</c:v>
                </c:pt>
                <c:pt idx="47">
                  <c:v>108</c:v>
                </c:pt>
                <c:pt idx="48">
                  <c:v>104</c:v>
                </c:pt>
                <c:pt idx="49">
                  <c:v>117</c:v>
                </c:pt>
                <c:pt idx="50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4.458767582104784</c:v>
                </c:pt>
                <c:pt idx="43">
                  <c:v>88.835846525889394</c:v>
                </c:pt>
                <c:pt idx="44">
                  <c:v>93.079097555735871</c:v>
                </c:pt>
                <c:pt idx="45">
                  <c:v>97.095306900055604</c:v>
                </c:pt>
                <c:pt idx="46">
                  <c:v>101.06725753411857</c:v>
                </c:pt>
                <c:pt idx="47">
                  <c:v>105.05888025249305</c:v>
                </c:pt>
                <c:pt idx="48">
                  <c:v>108.97192618613795</c:v>
                </c:pt>
                <c:pt idx="49">
                  <c:v>112.75985730541264</c:v>
                </c:pt>
                <c:pt idx="50">
                  <c:v>116.19941387506944</c:v>
                </c:pt>
                <c:pt idx="51">
                  <c:v>119.56812502019623</c:v>
                </c:pt>
                <c:pt idx="52">
                  <c:v>122.83129185260302</c:v>
                </c:pt>
                <c:pt idx="53">
                  <c:v>126.05729222536937</c:v>
                </c:pt>
                <c:pt idx="54">
                  <c:v>129.00124259158761</c:v>
                </c:pt>
                <c:pt idx="55">
                  <c:v>131.79898237610982</c:v>
                </c:pt>
                <c:pt idx="56">
                  <c:v>134.55776200667265</c:v>
                </c:pt>
                <c:pt idx="57">
                  <c:v>137.14224103754236</c:v>
                </c:pt>
                <c:pt idx="58">
                  <c:v>139.57731780853061</c:v>
                </c:pt>
                <c:pt idx="59">
                  <c:v>141.85512662165038</c:v>
                </c:pt>
                <c:pt idx="60">
                  <c:v>144.06163006281065</c:v>
                </c:pt>
                <c:pt idx="61">
                  <c:v>146.09335562079599</c:v>
                </c:pt>
                <c:pt idx="62">
                  <c:v>147.95516521761394</c:v>
                </c:pt>
                <c:pt idx="63">
                  <c:v>149.68883100682388</c:v>
                </c:pt>
                <c:pt idx="64">
                  <c:v>151.32754974351337</c:v>
                </c:pt>
                <c:pt idx="65">
                  <c:v>152.79296812892821</c:v>
                </c:pt>
                <c:pt idx="66">
                  <c:v>154.09721529016804</c:v>
                </c:pt>
                <c:pt idx="67">
                  <c:v>155.26863210226963</c:v>
                </c:pt>
                <c:pt idx="68">
                  <c:v>156.31469127299704</c:v>
                </c:pt>
                <c:pt idx="69">
                  <c:v>157.22644038866741</c:v>
                </c:pt>
                <c:pt idx="70">
                  <c:v>157.99666161579597</c:v>
                </c:pt>
                <c:pt idx="71">
                  <c:v>158.65070858587063</c:v>
                </c:pt>
                <c:pt idx="72">
                  <c:v>159.16143870169378</c:v>
                </c:pt>
                <c:pt idx="73">
                  <c:v>159.53059692705438</c:v>
                </c:pt>
                <c:pt idx="74">
                  <c:v>159.7431964285731</c:v>
                </c:pt>
                <c:pt idx="75">
                  <c:v>159.82298723787255</c:v>
                </c:pt>
                <c:pt idx="76">
                  <c:v>159.77090992260344</c:v>
                </c:pt>
                <c:pt idx="77">
                  <c:v>159.58670317837942</c:v>
                </c:pt>
                <c:pt idx="78">
                  <c:v>159.26515540301756</c:v>
                </c:pt>
                <c:pt idx="79">
                  <c:v>158.80286053710461</c:v>
                </c:pt>
                <c:pt idx="80">
                  <c:v>158.20755169364031</c:v>
                </c:pt>
                <c:pt idx="81">
                  <c:v>157.48328215832271</c:v>
                </c:pt>
                <c:pt idx="82">
                  <c:v>156.63159667876715</c:v>
                </c:pt>
                <c:pt idx="83">
                  <c:v>155.6527976669376</c:v>
                </c:pt>
                <c:pt idx="84">
                  <c:v>154.55116521454559</c:v>
                </c:pt>
                <c:pt idx="85">
                  <c:v>153.33067426467318</c:v>
                </c:pt>
                <c:pt idx="86">
                  <c:v>151.99545849743561</c:v>
                </c:pt>
                <c:pt idx="87">
                  <c:v>150.54898746505057</c:v>
                </c:pt>
                <c:pt idx="88">
                  <c:v>148.99592124119383</c:v>
                </c:pt>
                <c:pt idx="89">
                  <c:v>147.34039866404419</c:v>
                </c:pt>
                <c:pt idx="90">
                  <c:v>145.58629962099462</c:v>
                </c:pt>
                <c:pt idx="91">
                  <c:v>143.73843501148664</c:v>
                </c:pt>
                <c:pt idx="92">
                  <c:v>141.80215982245102</c:v>
                </c:pt>
                <c:pt idx="93">
                  <c:v>139.78261535351845</c:v>
                </c:pt>
                <c:pt idx="94">
                  <c:v>137.68485919135543</c:v>
                </c:pt>
                <c:pt idx="95">
                  <c:v>135.51415037915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4.626660193044387</c:v>
                </c:pt>
                <c:pt idx="43">
                  <c:v>89.238836972024004</c:v>
                </c:pt>
                <c:pt idx="44">
                  <c:v>93.792602906758191</c:v>
                </c:pt>
                <c:pt idx="45">
                  <c:v>98.202015883581424</c:v>
                </c:pt>
                <c:pt idx="46">
                  <c:v>102.65454730611407</c:v>
                </c:pt>
                <c:pt idx="47">
                  <c:v>107.22154852637034</c:v>
                </c:pt>
                <c:pt idx="48">
                  <c:v>111.80619622420215</c:v>
                </c:pt>
                <c:pt idx="49">
                  <c:v>116.36530950250844</c:v>
                </c:pt>
                <c:pt idx="50">
                  <c:v>120.67539492718694</c:v>
                </c:pt>
                <c:pt idx="51">
                  <c:v>125.01472417842464</c:v>
                </c:pt>
                <c:pt idx="52">
                  <c:v>129.34759634498096</c:v>
                </c:pt>
                <c:pt idx="53">
                  <c:v>133.7394978850634</c:v>
                </c:pt>
                <c:pt idx="54">
                  <c:v>137.94307204293992</c:v>
                </c:pt>
                <c:pt idx="55">
                  <c:v>142.08961333080393</c:v>
                </c:pt>
                <c:pt idx="56">
                  <c:v>146.28247930545206</c:v>
                </c:pt>
                <c:pt idx="57">
                  <c:v>150.38078321999097</c:v>
                </c:pt>
                <c:pt idx="58">
                  <c:v>154.40321365775645</c:v>
                </c:pt>
                <c:pt idx="59">
                  <c:v>158.33234286662491</c:v>
                </c:pt>
                <c:pt idx="60">
                  <c:v>162.2485028760014</c:v>
                </c:pt>
                <c:pt idx="61">
                  <c:v>166.03849537706321</c:v>
                </c:pt>
                <c:pt idx="62">
                  <c:v>169.69999067735682</c:v>
                </c:pt>
                <c:pt idx="63">
                  <c:v>173.26781065288299</c:v>
                </c:pt>
                <c:pt idx="64">
                  <c:v>176.76635089025618</c:v>
                </c:pt>
                <c:pt idx="65">
                  <c:v>180.10832629799535</c:v>
                </c:pt>
                <c:pt idx="66">
                  <c:v>183.29774640210582</c:v>
                </c:pt>
                <c:pt idx="67">
                  <c:v>186.35572173966926</c:v>
                </c:pt>
                <c:pt idx="68">
                  <c:v>189.28159367982914</c:v>
                </c:pt>
                <c:pt idx="69">
                  <c:v>192.05836607766889</c:v>
                </c:pt>
                <c:pt idx="70">
                  <c:v>194.67051670154521</c:v>
                </c:pt>
                <c:pt idx="71">
                  <c:v>197.13531398942209</c:v>
                </c:pt>
                <c:pt idx="72">
                  <c:v>199.41729601139212</c:v>
                </c:pt>
                <c:pt idx="73">
                  <c:v>201.5110004325511</c:v>
                </c:pt>
                <c:pt idx="74">
                  <c:v>203.39417273550271</c:v>
                </c:pt>
                <c:pt idx="75">
                  <c:v>205.08414215881811</c:v>
                </c:pt>
                <c:pt idx="76">
                  <c:v>206.57545418230939</c:v>
                </c:pt>
                <c:pt idx="77">
                  <c:v>207.861851885275</c:v>
                </c:pt>
                <c:pt idx="78">
                  <c:v>208.93200928191629</c:v>
                </c:pt>
                <c:pt idx="79">
                  <c:v>209.77717685450574</c:v>
                </c:pt>
                <c:pt idx="80">
                  <c:v>210.40076730891465</c:v>
                </c:pt>
                <c:pt idx="81">
                  <c:v>210.80269619841476</c:v>
                </c:pt>
                <c:pt idx="82">
                  <c:v>210.98090734217567</c:v>
                </c:pt>
                <c:pt idx="83">
                  <c:v>210.93264913101416</c:v>
                </c:pt>
                <c:pt idx="84">
                  <c:v>210.6596943191831</c:v>
                </c:pt>
                <c:pt idx="85">
                  <c:v>210.16407659741421</c:v>
                </c:pt>
                <c:pt idx="86">
                  <c:v>209.44855012147372</c:v>
                </c:pt>
                <c:pt idx="87">
                  <c:v>208.5157680081025</c:v>
                </c:pt>
                <c:pt idx="88">
                  <c:v>207.37012493706041</c:v>
                </c:pt>
                <c:pt idx="89">
                  <c:v>206.01603023049094</c:v>
                </c:pt>
                <c:pt idx="90">
                  <c:v>204.45814699817487</c:v>
                </c:pt>
                <c:pt idx="91">
                  <c:v>202.70256194350469</c:v>
                </c:pt>
                <c:pt idx="92">
                  <c:v>200.75638008269661</c:v>
                </c:pt>
                <c:pt idx="93">
                  <c:v>198.62694137831915</c:v>
                </c:pt>
                <c:pt idx="94">
                  <c:v>196.32191848335935</c:v>
                </c:pt>
                <c:pt idx="95">
                  <c:v>193.8495567408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4.795505388725672</c:v>
                </c:pt>
                <c:pt idx="43">
                  <c:v>89.645290626108476</c:v>
                </c:pt>
                <c:pt idx="44">
                  <c:v>94.514735081857793</c:v>
                </c:pt>
                <c:pt idx="45">
                  <c:v>99.32651645245538</c:v>
                </c:pt>
                <c:pt idx="46">
                  <c:v>104.27435252904021</c:v>
                </c:pt>
                <c:pt idx="47">
                  <c:v>109.43876677322606</c:v>
                </c:pt>
                <c:pt idx="48">
                  <c:v>114.72624411476566</c:v>
                </c:pt>
                <c:pt idx="49">
                  <c:v>120.09896299455261</c:v>
                </c:pt>
                <c:pt idx="50">
                  <c:v>125.33525490916753</c:v>
                </c:pt>
                <c:pt idx="51">
                  <c:v>130.71622294599297</c:v>
                </c:pt>
                <c:pt idx="52">
                  <c:v>136.20722807426989</c:v>
                </c:pt>
                <c:pt idx="53">
                  <c:v>141.8728419745245</c:v>
                </c:pt>
                <c:pt idx="54">
                  <c:v>147.46507918304809</c:v>
                </c:pt>
                <c:pt idx="55">
                  <c:v>153.1123456744935</c:v>
                </c:pt>
                <c:pt idx="56">
                  <c:v>158.91555729019552</c:v>
                </c:pt>
                <c:pt idx="57">
                  <c:v>164.72946599185619</c:v>
                </c:pt>
                <c:pt idx="58">
                  <c:v>170.56744347301446</c:v>
                </c:pt>
                <c:pt idx="59">
                  <c:v>176.40304965337236</c:v>
                </c:pt>
                <c:pt idx="60">
                  <c:v>182.3111658846147</c:v>
                </c:pt>
                <c:pt idx="61">
                  <c:v>188.16862859406857</c:v>
                </c:pt>
                <c:pt idx="62">
                  <c:v>193.96524970403766</c:v>
                </c:pt>
                <c:pt idx="63">
                  <c:v>199.7278003538774</c:v>
                </c:pt>
                <c:pt idx="64">
                  <c:v>205.47033140974901</c:v>
                </c:pt>
                <c:pt idx="65">
                  <c:v>211.09467505735799</c:v>
                </c:pt>
                <c:pt idx="66">
                  <c:v>216.59437810965619</c:v>
                </c:pt>
                <c:pt idx="67">
                  <c:v>221.98057271365252</c:v>
                </c:pt>
                <c:pt idx="68">
                  <c:v>227.24134420737857</c:v>
                </c:pt>
                <c:pt idx="69">
                  <c:v>232.34818617113041</c:v>
                </c:pt>
                <c:pt idx="70">
                  <c:v>237.27350291475307</c:v>
                </c:pt>
                <c:pt idx="71">
                  <c:v>242.02244959836233</c:v>
                </c:pt>
                <c:pt idx="72">
                  <c:v>246.54701885172139</c:v>
                </c:pt>
                <c:pt idx="73">
                  <c:v>250.83017395501929</c:v>
                </c:pt>
                <c:pt idx="74">
                  <c:v>254.83793292782138</c:v>
                </c:pt>
                <c:pt idx="75">
                  <c:v>258.57671050650606</c:v>
                </c:pt>
                <c:pt idx="76">
                  <c:v>262.03018936677705</c:v>
                </c:pt>
                <c:pt idx="77">
                  <c:v>265.18173516859019</c:v>
                </c:pt>
                <c:pt idx="78">
                  <c:v>268.00966944455331</c:v>
                </c:pt>
                <c:pt idx="79">
                  <c:v>270.49586428953899</c:v>
                </c:pt>
                <c:pt idx="80">
                  <c:v>272.6356374751615</c:v>
                </c:pt>
                <c:pt idx="81">
                  <c:v>274.42130054175732</c:v>
                </c:pt>
                <c:pt idx="82">
                  <c:v>275.8440822530743</c:v>
                </c:pt>
                <c:pt idx="83">
                  <c:v>276.89545545182398</c:v>
                </c:pt>
                <c:pt idx="84">
                  <c:v>277.57239060010176</c:v>
                </c:pt>
                <c:pt idx="85">
                  <c:v>277.87313863839921</c:v>
                </c:pt>
                <c:pt idx="86">
                  <c:v>277.79770664101216</c:v>
                </c:pt>
                <c:pt idx="87">
                  <c:v>277.34705146412614</c:v>
                </c:pt>
                <c:pt idx="88">
                  <c:v>276.52491629062325</c:v>
                </c:pt>
                <c:pt idx="89">
                  <c:v>275.3360866383801</c:v>
                </c:pt>
                <c:pt idx="90">
                  <c:v>273.78659777746464</c:v>
                </c:pt>
                <c:pt idx="91">
                  <c:v>271.88486997858354</c:v>
                </c:pt>
                <c:pt idx="92">
                  <c:v>269.6412637079813</c:v>
                </c:pt>
                <c:pt idx="93">
                  <c:v>267.06724411812132</c:v>
                </c:pt>
                <c:pt idx="94">
                  <c:v>264.17541488501138</c:v>
                </c:pt>
                <c:pt idx="95">
                  <c:v>260.9796904742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1</c:v>
                </c:pt>
                <c:pt idx="24">
                  <c:v>12</c:v>
                </c:pt>
                <c:pt idx="25">
                  <c:v>12</c:v>
                </c:pt>
                <c:pt idx="26">
                  <c:v>13</c:v>
                </c:pt>
                <c:pt idx="27">
                  <c:v>15</c:v>
                </c:pt>
                <c:pt idx="28">
                  <c:v>18</c:v>
                </c:pt>
                <c:pt idx="29">
                  <c:v>18</c:v>
                </c:pt>
                <c:pt idx="30">
                  <c:v>25</c:v>
                </c:pt>
                <c:pt idx="31">
                  <c:v>30</c:v>
                </c:pt>
                <c:pt idx="32">
                  <c:v>32</c:v>
                </c:pt>
                <c:pt idx="33">
                  <c:v>35</c:v>
                </c:pt>
                <c:pt idx="34">
                  <c:v>39</c:v>
                </c:pt>
                <c:pt idx="35">
                  <c:v>43</c:v>
                </c:pt>
                <c:pt idx="36">
                  <c:v>46</c:v>
                </c:pt>
                <c:pt idx="37">
                  <c:v>52</c:v>
                </c:pt>
                <c:pt idx="38">
                  <c:v>59</c:v>
                </c:pt>
                <c:pt idx="39">
                  <c:v>67</c:v>
                </c:pt>
                <c:pt idx="40">
                  <c:v>70</c:v>
                </c:pt>
                <c:pt idx="41">
                  <c:v>70</c:v>
                </c:pt>
                <c:pt idx="42">
                  <c:v>73</c:v>
                </c:pt>
                <c:pt idx="43">
                  <c:v>81</c:v>
                </c:pt>
                <c:pt idx="44">
                  <c:v>88</c:v>
                </c:pt>
                <c:pt idx="45">
                  <c:v>95</c:v>
                </c:pt>
                <c:pt idx="46">
                  <c:v>102</c:v>
                </c:pt>
                <c:pt idx="47">
                  <c:v>107</c:v>
                </c:pt>
                <c:pt idx="48">
                  <c:v>109</c:v>
                </c:pt>
                <c:pt idx="49">
                  <c:v>117</c:v>
                </c:pt>
                <c:pt idx="50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74.820504882581361</c:v>
                </c:pt>
                <c:pt idx="43">
                  <c:v>79.761143389141154</c:v>
                </c:pt>
                <c:pt idx="44">
                  <c:v>84.805593116928577</c:v>
                </c:pt>
                <c:pt idx="45">
                  <c:v>89.924732430432243</c:v>
                </c:pt>
                <c:pt idx="46">
                  <c:v>95.223196053434819</c:v>
                </c:pt>
                <c:pt idx="47">
                  <c:v>100.64303841570205</c:v>
                </c:pt>
                <c:pt idx="48">
                  <c:v>106.19869534145884</c:v>
                </c:pt>
                <c:pt idx="49">
                  <c:v>111.84796777960432</c:v>
                </c:pt>
                <c:pt idx="50">
                  <c:v>117.57674418258478</c:v>
                </c:pt>
                <c:pt idx="51">
                  <c:v>123.39055543700459</c:v>
                </c:pt>
                <c:pt idx="52">
                  <c:v>129.2787003002714</c:v>
                </c:pt>
                <c:pt idx="53">
                  <c:v>135.27076185339143</c:v>
                </c:pt>
                <c:pt idx="54">
                  <c:v>141.34008185684121</c:v>
                </c:pt>
                <c:pt idx="55">
                  <c:v>147.47873966336329</c:v>
                </c:pt>
                <c:pt idx="56">
                  <c:v>153.678020226802</c:v>
                </c:pt>
                <c:pt idx="57">
                  <c:v>159.93652332964456</c:v>
                </c:pt>
                <c:pt idx="58">
                  <c:v>166.24478188070407</c:v>
                </c:pt>
                <c:pt idx="59">
                  <c:v>172.59249009494803</c:v>
                </c:pt>
                <c:pt idx="60">
                  <c:v>178.97635129954409</c:v>
                </c:pt>
                <c:pt idx="61">
                  <c:v>185.41139892928408</c:v>
                </c:pt>
                <c:pt idx="62">
                  <c:v>191.88162712216149</c:v>
                </c:pt>
                <c:pt idx="63">
                  <c:v>198.37965689792111</c:v>
                </c:pt>
                <c:pt idx="64">
                  <c:v>204.90018332822621</c:v>
                </c:pt>
                <c:pt idx="65">
                  <c:v>211.43791506984905</c:v>
                </c:pt>
                <c:pt idx="66">
                  <c:v>217.98760632698153</c:v>
                </c:pt>
                <c:pt idx="67">
                  <c:v>224.54391310709849</c:v>
                </c:pt>
                <c:pt idx="68">
                  <c:v>231.10142819572005</c:v>
                </c:pt>
                <c:pt idx="69">
                  <c:v>237.65469822836945</c:v>
                </c:pt>
                <c:pt idx="70">
                  <c:v>244.19824542985268</c:v>
                </c:pt>
                <c:pt idx="71">
                  <c:v>250.72657985269285</c:v>
                </c:pt>
                <c:pt idx="72">
                  <c:v>257.23428159682567</c:v>
                </c:pt>
                <c:pt idx="73">
                  <c:v>263.71602393413923</c:v>
                </c:pt>
                <c:pt idx="74">
                  <c:v>270.166571751829</c:v>
                </c:pt>
                <c:pt idx="75">
                  <c:v>276.58078028188413</c:v>
                </c:pt>
                <c:pt idx="76">
                  <c:v>282.95361881707822</c:v>
                </c:pt>
                <c:pt idx="77">
                  <c:v>289.28017791523382</c:v>
                </c:pt>
                <c:pt idx="78">
                  <c:v>295.55569038376262</c:v>
                </c:pt>
                <c:pt idx="79">
                  <c:v>301.77554784394249</c:v>
                </c:pt>
                <c:pt idx="80">
                  <c:v>307.93531899994503</c:v>
                </c:pt>
                <c:pt idx="81">
                  <c:v>314.03075952108748</c:v>
                </c:pt>
                <c:pt idx="82">
                  <c:v>320.05781120426957</c:v>
                </c:pt>
                <c:pt idx="83">
                  <c:v>326.01261134355974</c:v>
                </c:pt>
                <c:pt idx="84">
                  <c:v>331.89149909700308</c:v>
                </c:pt>
                <c:pt idx="85">
                  <c:v>337.69102143745675</c:v>
                </c:pt>
                <c:pt idx="86">
                  <c:v>343.40793658251818</c:v>
                </c:pt>
                <c:pt idx="87">
                  <c:v>349.03922064260058</c:v>
                </c:pt>
                <c:pt idx="88">
                  <c:v>354.58207251416411</c:v>
                </c:pt>
                <c:pt idx="89">
                  <c:v>360.0339135490226</c:v>
                </c:pt>
                <c:pt idx="90">
                  <c:v>365.39238480969993</c:v>
                </c:pt>
                <c:pt idx="91">
                  <c:v>370.65534818791349</c:v>
                </c:pt>
                <c:pt idx="92">
                  <c:v>375.82088485401601</c:v>
                </c:pt>
                <c:pt idx="93">
                  <c:v>380.8872933481336</c:v>
                </c:pt>
                <c:pt idx="94">
                  <c:v>385.85308642941419</c:v>
                </c:pt>
                <c:pt idx="95">
                  <c:v>390.7169955419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4.888987201891183</c:v>
                </c:pt>
                <c:pt idx="43">
                  <c:v>79.929738393623836</c:v>
                </c:pt>
                <c:pt idx="44">
                  <c:v>85.111115785041051</c:v>
                </c:pt>
                <c:pt idx="45">
                  <c:v>90.409087866029537</c:v>
                </c:pt>
                <c:pt idx="46">
                  <c:v>95.933109043989901</c:v>
                </c:pt>
                <c:pt idx="47">
                  <c:v>101.63014865530033</c:v>
                </c:pt>
                <c:pt idx="48">
                  <c:v>107.51901232079555</c:v>
                </c:pt>
                <c:pt idx="49">
                  <c:v>113.56155759541321</c:v>
                </c:pt>
                <c:pt idx="50">
                  <c:v>119.74732033453394</c:v>
                </c:pt>
                <c:pt idx="51">
                  <c:v>126.08494737071248</c:v>
                </c:pt>
                <c:pt idx="52">
                  <c:v>132.56650744289792</c:v>
                </c:pt>
                <c:pt idx="53">
                  <c:v>139.22389886467329</c:v>
                </c:pt>
                <c:pt idx="54">
                  <c:v>146.03273711145289</c:v>
                </c:pt>
                <c:pt idx="55">
                  <c:v>152.98680268237254</c:v>
                </c:pt>
                <c:pt idx="56">
                  <c:v>160.07864331488901</c:v>
                </c:pt>
                <c:pt idx="57">
                  <c:v>167.30774093459601</c:v>
                </c:pt>
                <c:pt idx="58">
                  <c:v>174.66519921360387</c:v>
                </c:pt>
                <c:pt idx="59">
                  <c:v>182.14094439023569</c:v>
                </c:pt>
                <c:pt idx="60">
                  <c:v>189.73155859228333</c:v>
                </c:pt>
                <c:pt idx="61">
                  <c:v>197.45160915918535</c:v>
                </c:pt>
                <c:pt idx="62">
                  <c:v>205.28442058690635</c:v>
                </c:pt>
                <c:pt idx="63">
                  <c:v>213.22153344405731</c:v>
                </c:pt>
                <c:pt idx="64">
                  <c:v>221.2561855299397</c:v>
                </c:pt>
                <c:pt idx="65">
                  <c:v>229.3813310630438</c:v>
                </c:pt>
                <c:pt idx="66">
                  <c:v>237.58969515525422</c:v>
                </c:pt>
                <c:pt idx="67">
                  <c:v>245.87358587810488</c:v>
                </c:pt>
                <c:pt idx="68">
                  <c:v>254.22495220032397</c:v>
                </c:pt>
                <c:pt idx="69">
                  <c:v>262.63541478617651</c:v>
                </c:pt>
                <c:pt idx="70">
                  <c:v>271.09630568579553</c:v>
                </c:pt>
                <c:pt idx="71">
                  <c:v>279.5986944645922</c:v>
                </c:pt>
                <c:pt idx="72">
                  <c:v>288.13351686946282</c:v>
                </c:pt>
                <c:pt idx="73">
                  <c:v>296.69162028750543</c:v>
                </c:pt>
                <c:pt idx="74">
                  <c:v>305.26377675627822</c:v>
                </c:pt>
                <c:pt idx="75">
                  <c:v>313.84069895111281</c:v>
                </c:pt>
                <c:pt idx="76">
                  <c:v>322.41309144763306</c:v>
                </c:pt>
                <c:pt idx="77">
                  <c:v>330.971679605438</c:v>
                </c:pt>
                <c:pt idx="78">
                  <c:v>339.50725813915625</c:v>
                </c:pt>
                <c:pt idx="79">
                  <c:v>348.01073391330721</c:v>
                </c:pt>
                <c:pt idx="80">
                  <c:v>356.4731717265949</c:v>
                </c:pt>
                <c:pt idx="81">
                  <c:v>364.88582813445237</c:v>
                </c:pt>
                <c:pt idx="82">
                  <c:v>373.24017045955532</c:v>
                </c:pt>
                <c:pt idx="83">
                  <c:v>381.52790961191027</c:v>
                </c:pt>
                <c:pt idx="84">
                  <c:v>389.74102789234183</c:v>
                </c:pt>
                <c:pt idx="85">
                  <c:v>397.87180563786245</c:v>
                </c:pt>
                <c:pt idx="86">
                  <c:v>405.91284335327009</c:v>
                </c:pt>
                <c:pt idx="87">
                  <c:v>413.85708747021386</c:v>
                </c:pt>
                <c:pt idx="88">
                  <c:v>421.69785237553128</c:v>
                </c:pt>
                <c:pt idx="89">
                  <c:v>429.42883406396459</c:v>
                </c:pt>
                <c:pt idx="90">
                  <c:v>437.04411918424324</c:v>
                </c:pt>
                <c:pt idx="91">
                  <c:v>444.53819807729707</c:v>
                </c:pt>
                <c:pt idx="92">
                  <c:v>451.90597271675529</c:v>
                </c:pt>
                <c:pt idx="93">
                  <c:v>459.14276275518694</c:v>
                </c:pt>
                <c:pt idx="94">
                  <c:v>466.24430844199674</c:v>
                </c:pt>
                <c:pt idx="95">
                  <c:v>473.20677385551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4.957857700211861</c:v>
                </c:pt>
                <c:pt idx="43">
                  <c:v>80.09976958442364</c:v>
                </c:pt>
                <c:pt idx="44">
                  <c:v>85.420269610039341</c:v>
                </c:pt>
                <c:pt idx="45">
                  <c:v>90.90103554670867</c:v>
                </c:pt>
                <c:pt idx="46">
                  <c:v>96.657084251131209</c:v>
                </c:pt>
                <c:pt idx="47">
                  <c:v>102.64115953988585</c:v>
                </c:pt>
                <c:pt idx="48">
                  <c:v>108.8774036027213</c:v>
                </c:pt>
                <c:pt idx="49">
                  <c:v>115.33279760999298</c:v>
                </c:pt>
                <c:pt idx="50">
                  <c:v>122.00167673959064</c:v>
                </c:pt>
                <c:pt idx="51">
                  <c:v>128.89702701323222</c:v>
                </c:pt>
                <c:pt idx="52">
                  <c:v>136.01496426809538</c:v>
                </c:pt>
                <c:pt idx="53">
                  <c:v>143.39100933399476</c:v>
                </c:pt>
                <c:pt idx="54">
                  <c:v>151.00436808768433</c:v>
                </c:pt>
                <c:pt idx="55">
                  <c:v>158.85182447968305</c:v>
                </c:pt>
                <c:pt idx="56">
                  <c:v>166.92846375788318</c:v>
                </c:pt>
                <c:pt idx="57">
                  <c:v>175.23586958447481</c:v>
                </c:pt>
                <c:pt idx="58">
                  <c:v>183.76686389028265</c:v>
                </c:pt>
                <c:pt idx="59">
                  <c:v>192.51265871740554</c:v>
                </c:pt>
                <c:pt idx="60">
                  <c:v>201.47064718805873</c:v>
                </c:pt>
                <c:pt idx="61">
                  <c:v>210.65572175185906</c:v>
                </c:pt>
                <c:pt idx="62">
                  <c:v>220.05116741957681</c:v>
                </c:pt>
                <c:pt idx="63">
                  <c:v>229.64789873949945</c:v>
                </c:pt>
                <c:pt idx="64">
                  <c:v>239.43796060276765</c:v>
                </c:pt>
                <c:pt idx="65">
                  <c:v>249.41262806798767</c:v>
                </c:pt>
                <c:pt idx="66">
                  <c:v>259.56247511292042</c:v>
                </c:pt>
                <c:pt idx="67">
                  <c:v>269.87712251711719</c:v>
                </c:pt>
                <c:pt idx="68">
                  <c:v>280.34531744634842</c:v>
                </c:pt>
                <c:pt idx="69">
                  <c:v>290.95497704941408</c:v>
                </c:pt>
                <c:pt idx="70">
                  <c:v>301.69324912248521</c:v>
                </c:pt>
                <c:pt idx="71">
                  <c:v>312.54655693306574</c:v>
                </c:pt>
                <c:pt idx="72">
                  <c:v>323.50078933808538</c:v>
                </c:pt>
                <c:pt idx="73">
                  <c:v>334.54138057731728</c:v>
                </c:pt>
                <c:pt idx="74">
                  <c:v>345.65335067038166</c:v>
                </c:pt>
                <c:pt idx="75">
                  <c:v>356.82135444737736</c:v>
                </c:pt>
                <c:pt idx="76">
                  <c:v>368.02978051873254</c:v>
                </c:pt>
                <c:pt idx="77">
                  <c:v>379.26282236296038</c:v>
                </c:pt>
                <c:pt idx="78">
                  <c:v>390.50457784137637</c:v>
                </c:pt>
                <c:pt idx="79">
                  <c:v>401.73914229269042</c:v>
                </c:pt>
                <c:pt idx="80">
                  <c:v>412.95070709404393</c:v>
                </c:pt>
                <c:pt idx="81">
                  <c:v>424.12364224606159</c:v>
                </c:pt>
                <c:pt idx="82">
                  <c:v>435.24255921979739</c:v>
                </c:pt>
                <c:pt idx="83">
                  <c:v>446.29239175893235</c:v>
                </c:pt>
                <c:pt idx="84">
                  <c:v>457.25846855729492</c:v>
                </c:pt>
                <c:pt idx="85">
                  <c:v>468.1265829695264</c:v>
                </c:pt>
                <c:pt idx="86">
                  <c:v>478.88305457633709</c:v>
                </c:pt>
                <c:pt idx="87">
                  <c:v>489.5147934272843</c:v>
                </c:pt>
                <c:pt idx="88">
                  <c:v>500.00935650789984</c:v>
                </c:pt>
                <c:pt idx="89">
                  <c:v>510.35499018352294</c:v>
                </c:pt>
                <c:pt idx="90">
                  <c:v>520.54066342775764</c:v>
                </c:pt>
                <c:pt idx="91">
                  <c:v>530.55610321279778</c:v>
                </c:pt>
                <c:pt idx="92">
                  <c:v>540.39181979167063</c:v>
                </c:pt>
                <c:pt idx="93">
                  <c:v>550.03912619075868</c:v>
                </c:pt>
                <c:pt idx="94">
                  <c:v>559.49015027863857</c:v>
                </c:pt>
                <c:pt idx="95">
                  <c:v>568.73784418722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12</c:v>
                </c:pt>
                <c:pt idx="39">
                  <c:v>12</c:v>
                </c:pt>
                <c:pt idx="40">
                  <c:v>13</c:v>
                </c:pt>
                <c:pt idx="41">
                  <c:v>14</c:v>
                </c:pt>
                <c:pt idx="42">
                  <c:v>14</c:v>
                </c:pt>
                <c:pt idx="43">
                  <c:v>15</c:v>
                </c:pt>
                <c:pt idx="44">
                  <c:v>16</c:v>
                </c:pt>
                <c:pt idx="45">
                  <c:v>17</c:v>
                </c:pt>
                <c:pt idx="46">
                  <c:v>17</c:v>
                </c:pt>
                <c:pt idx="47">
                  <c:v>17</c:v>
                </c:pt>
                <c:pt idx="48">
                  <c:v>19</c:v>
                </c:pt>
                <c:pt idx="49">
                  <c:v>20</c:v>
                </c:pt>
                <c:pt idx="5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659768495968143</c:v>
                </c:pt>
                <c:pt idx="43">
                  <c:v>15.334949867697276</c:v>
                </c:pt>
                <c:pt idx="44">
                  <c:v>16.023590497393577</c:v>
                </c:pt>
                <c:pt idx="45">
                  <c:v>16.721819529193489</c:v>
                </c:pt>
                <c:pt idx="46">
                  <c:v>17.44343268798643</c:v>
                </c:pt>
                <c:pt idx="47">
                  <c:v>18.180971213648327</c:v>
                </c:pt>
                <c:pt idx="48">
                  <c:v>18.937379972897304</c:v>
                </c:pt>
                <c:pt idx="49">
                  <c:v>19.70631027492071</c:v>
                </c:pt>
                <c:pt idx="50">
                  <c:v>20.485361886392937</c:v>
                </c:pt>
                <c:pt idx="51">
                  <c:v>21.276122499274209</c:v>
                </c:pt>
                <c:pt idx="52">
                  <c:v>22.077733960989828</c:v>
                </c:pt>
                <c:pt idx="53">
                  <c:v>22.893202339885811</c:v>
                </c:pt>
                <c:pt idx="54">
                  <c:v>23.718671279714432</c:v>
                </c:pt>
                <c:pt idx="55">
                  <c:v>24.553633019607012</c:v>
                </c:pt>
                <c:pt idx="56">
                  <c:v>25.39712129951841</c:v>
                </c:pt>
                <c:pt idx="57">
                  <c:v>26.249049603347981</c:v>
                </c:pt>
                <c:pt idx="58">
                  <c:v>27.107861569697164</c:v>
                </c:pt>
                <c:pt idx="59">
                  <c:v>27.972395557520379</c:v>
                </c:pt>
                <c:pt idx="60">
                  <c:v>28.842180983406941</c:v>
                </c:pt>
                <c:pt idx="61">
                  <c:v>29.71890784416204</c:v>
                </c:pt>
                <c:pt idx="62">
                  <c:v>30.60059823877825</c:v>
                </c:pt>
                <c:pt idx="63">
                  <c:v>31.486289796933672</c:v>
                </c:pt>
                <c:pt idx="64">
                  <c:v>32.375262490246072</c:v>
                </c:pt>
                <c:pt idx="65">
                  <c:v>33.266797690724886</c:v>
                </c:pt>
                <c:pt idx="66">
                  <c:v>34.160182283792977</c:v>
                </c:pt>
                <c:pt idx="67">
                  <c:v>35.054689165105515</c:v>
                </c:pt>
                <c:pt idx="68">
                  <c:v>35.94958161369928</c:v>
                </c:pt>
                <c:pt idx="69">
                  <c:v>36.844115834974957</c:v>
                </c:pt>
                <c:pt idx="70">
                  <c:v>37.737544099131853</c:v>
                </c:pt>
                <c:pt idx="71">
                  <c:v>38.629116676478077</c:v>
                </c:pt>
                <c:pt idx="72">
                  <c:v>39.518092740443734</c:v>
                </c:pt>
                <c:pt idx="73">
                  <c:v>40.403743475005427</c:v>
                </c:pt>
                <c:pt idx="74">
                  <c:v>41.285351834826038</c:v>
                </c:pt>
                <c:pt idx="75">
                  <c:v>42.162212519320164</c:v>
                </c:pt>
                <c:pt idx="76">
                  <c:v>43.033635078221081</c:v>
                </c:pt>
                <c:pt idx="77">
                  <c:v>43.898944922237284</c:v>
                </c:pt>
                <c:pt idx="78">
                  <c:v>44.757486314068473</c:v>
                </c:pt>
                <c:pt idx="79">
                  <c:v>45.608624723489456</c:v>
                </c:pt>
                <c:pt idx="80">
                  <c:v>46.451749226737221</c:v>
                </c:pt>
                <c:pt idx="81">
                  <c:v>47.286273819663023</c:v>
                </c:pt>
                <c:pt idx="82">
                  <c:v>48.11163752830565</c:v>
                </c:pt>
                <c:pt idx="83">
                  <c:v>48.927305727223825</c:v>
                </c:pt>
                <c:pt idx="84">
                  <c:v>49.732771017822188</c:v>
                </c:pt>
                <c:pt idx="85">
                  <c:v>50.527554071275318</c:v>
                </c:pt>
                <c:pt idx="86">
                  <c:v>51.311204165412668</c:v>
                </c:pt>
                <c:pt idx="87">
                  <c:v>52.083300093538625</c:v>
                </c:pt>
                <c:pt idx="88">
                  <c:v>52.843450814867921</c:v>
                </c:pt>
                <c:pt idx="89">
                  <c:v>53.591295490946983</c:v>
                </c:pt>
                <c:pt idx="90">
                  <c:v>54.326503217956642</c:v>
                </c:pt>
                <c:pt idx="91">
                  <c:v>55.048773195586818</c:v>
                </c:pt>
                <c:pt idx="92">
                  <c:v>55.757834552892881</c:v>
                </c:pt>
                <c:pt idx="93">
                  <c:v>56.453446117834758</c:v>
                </c:pt>
                <c:pt idx="94">
                  <c:v>57.135396027419503</c:v>
                </c:pt>
                <c:pt idx="95">
                  <c:v>57.80350222436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668828035472282</c:v>
                </c:pt>
                <c:pt idx="43">
                  <c:v>15.357262943379824</c:v>
                </c:pt>
                <c:pt idx="44">
                  <c:v>16.064049032758977</c:v>
                </c:pt>
                <c:pt idx="45">
                  <c:v>16.786002413937531</c:v>
                </c:pt>
                <c:pt idx="46">
                  <c:v>17.537570240709805</c:v>
                </c:pt>
                <c:pt idx="47">
                  <c:v>18.311958859597777</c:v>
                </c:pt>
                <c:pt idx="48">
                  <c:v>19.112712110679546</c:v>
                </c:pt>
                <c:pt idx="49">
                  <c:v>19.934041279084376</c:v>
                </c:pt>
                <c:pt idx="50">
                  <c:v>20.774050040679413</c:v>
                </c:pt>
                <c:pt idx="51">
                  <c:v>21.634757977768874</c:v>
                </c:pt>
                <c:pt idx="52">
                  <c:v>22.515694873908934</c:v>
                </c:pt>
                <c:pt idx="53">
                  <c:v>23.420197690150786</c:v>
                </c:pt>
                <c:pt idx="54">
                  <c:v>24.344730312869636</c:v>
                </c:pt>
                <c:pt idx="55">
                  <c:v>25.289029221730516</c:v>
                </c:pt>
                <c:pt idx="56">
                  <c:v>26.252315327402826</c:v>
                </c:pt>
                <c:pt idx="57">
                  <c:v>27.234638841675896</c:v>
                </c:pt>
                <c:pt idx="58">
                  <c:v>28.234538124759261</c:v>
                </c:pt>
                <c:pt idx="59">
                  <c:v>29.250899310781115</c:v>
                </c:pt>
                <c:pt idx="60">
                  <c:v>30.28325104409371</c:v>
                </c:pt>
                <c:pt idx="61">
                  <c:v>31.333235118133242</c:v>
                </c:pt>
                <c:pt idx="62">
                  <c:v>32.398794660176478</c:v>
                </c:pt>
                <c:pt idx="63">
                  <c:v>33.478833262954339</c:v>
                </c:pt>
                <c:pt idx="64">
                  <c:v>34.572445899919273</c:v>
                </c:pt>
                <c:pt idx="65">
                  <c:v>35.678688148633981</c:v>
                </c:pt>
                <c:pt idx="66">
                  <c:v>36.796583122039905</c:v>
                </c:pt>
                <c:pt idx="67">
                  <c:v>37.925095946701731</c:v>
                </c:pt>
                <c:pt idx="68">
                  <c:v>39.063141029588195</c:v>
                </c:pt>
                <c:pt idx="69">
                  <c:v>40.209586492755179</c:v>
                </c:pt>
                <c:pt idx="70">
                  <c:v>41.363259767495364</c:v>
                </c:pt>
                <c:pt idx="71">
                  <c:v>42.522951501079568</c:v>
                </c:pt>
                <c:pt idx="72">
                  <c:v>43.687432585356333</c:v>
                </c:pt>
                <c:pt idx="73">
                  <c:v>44.855460252884882</c:v>
                </c:pt>
                <c:pt idx="74">
                  <c:v>46.025779778527806</c:v>
                </c:pt>
                <c:pt idx="75">
                  <c:v>47.197126815901157</c:v>
                </c:pt>
                <c:pt idx="76">
                  <c:v>48.368234173710761</c:v>
                </c:pt>
                <c:pt idx="77">
                  <c:v>49.537835768665524</c:v>
                </c:pt>
                <c:pt idx="78">
                  <c:v>50.704673407163604</c:v>
                </c:pt>
                <c:pt idx="79">
                  <c:v>51.867502738785966</c:v>
                </c:pt>
                <c:pt idx="80">
                  <c:v>53.025099359470339</c:v>
                </c:pt>
                <c:pt idx="81">
                  <c:v>54.176263380779631</c:v>
                </c:pt>
                <c:pt idx="82">
                  <c:v>55.319822337168738</c:v>
                </c:pt>
                <c:pt idx="83">
                  <c:v>56.454635725762785</c:v>
                </c:pt>
                <c:pt idx="84">
                  <c:v>57.57959883476088</c:v>
                </c:pt>
                <c:pt idx="85">
                  <c:v>58.693646449468268</c:v>
                </c:pt>
                <c:pt idx="86">
                  <c:v>59.795756003696489</c:v>
                </c:pt>
                <c:pt idx="87">
                  <c:v>60.884951132866981</c:v>
                </c:pt>
                <c:pt idx="88">
                  <c:v>61.960304700332664</c:v>
                </c:pt>
                <c:pt idx="89">
                  <c:v>63.020940820754277</c:v>
                </c:pt>
                <c:pt idx="90">
                  <c:v>64.066036293113655</c:v>
                </c:pt>
                <c:pt idx="91">
                  <c:v>65.094822456432979</c:v>
                </c:pt>
                <c:pt idx="92">
                  <c:v>66.106586381759257</c:v>
                </c:pt>
                <c:pt idx="93">
                  <c:v>67.100671796728363</c:v>
                </c:pt>
                <c:pt idx="94">
                  <c:v>68.076479597928824</c:v>
                </c:pt>
                <c:pt idx="95">
                  <c:v>69.033468357460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677938958087935</c:v>
                </c:pt>
                <c:pt idx="43">
                  <c:v>15.379766097904273</c:v>
                </c:pt>
                <c:pt idx="44">
                  <c:v>16.104988186629043</c:v>
                </c:pt>
                <c:pt idx="45">
                  <c:v>16.85119044883859</c:v>
                </c:pt>
                <c:pt idx="46">
                  <c:v>17.633570252943578</c:v>
                </c:pt>
                <c:pt idx="47">
                  <c:v>18.446113668062644</c:v>
                </c:pt>
                <c:pt idx="48">
                  <c:v>19.293092740723417</c:v>
                </c:pt>
                <c:pt idx="49">
                  <c:v>20.16942170558351</c:v>
                </c:pt>
                <c:pt idx="50">
                  <c:v>21.073862943729672</c:v>
                </c:pt>
                <c:pt idx="51">
                  <c:v>22.009032820321075</c:v>
                </c:pt>
                <c:pt idx="52">
                  <c:v>22.97502174251937</c:v>
                </c:pt>
                <c:pt idx="53">
                  <c:v>23.975674888811607</c:v>
                </c:pt>
                <c:pt idx="54">
                  <c:v>25.007955595366937</c:v>
                </c:pt>
                <c:pt idx="55">
                  <c:v>26.07202255562904</c:v>
                </c:pt>
                <c:pt idx="56">
                  <c:v>27.16745873942725</c:v>
                </c:pt>
                <c:pt idx="57">
                  <c:v>28.294619213181214</c:v>
                </c:pt>
                <c:pt idx="58">
                  <c:v>29.452296087437762</c:v>
                </c:pt>
                <c:pt idx="59">
                  <c:v>30.639570279394615</c:v>
                </c:pt>
                <c:pt idx="60">
                  <c:v>31.856100886183455</c:v>
                </c:pt>
                <c:pt idx="61">
                  <c:v>33.103594244144702</c:v>
                </c:pt>
                <c:pt idx="62">
                  <c:v>34.380006004576444</c:v>
                </c:pt>
                <c:pt idx="63">
                  <c:v>35.684173902065908</c:v>
                </c:pt>
                <c:pt idx="64">
                  <c:v>37.01505075178855</c:v>
                </c:pt>
                <c:pt idx="65">
                  <c:v>38.371483804968818</c:v>
                </c:pt>
                <c:pt idx="66">
                  <c:v>39.752223276026839</c:v>
                </c:pt>
                <c:pt idx="67">
                  <c:v>41.155888005284972</c:v>
                </c:pt>
                <c:pt idx="68">
                  <c:v>42.580975294254422</c:v>
                </c:pt>
                <c:pt idx="69">
                  <c:v>44.025867009519771</c:v>
                </c:pt>
                <c:pt idx="70">
                  <c:v>45.488837939423128</c:v>
                </c:pt>
                <c:pt idx="71">
                  <c:v>46.968062235894799</c:v>
                </c:pt>
                <c:pt idx="72">
                  <c:v>48.461638460788571</c:v>
                </c:pt>
                <c:pt idx="73">
                  <c:v>49.967600188198816</c:v>
                </c:pt>
                <c:pt idx="74">
                  <c:v>51.483921282608065</c:v>
                </c:pt>
                <c:pt idx="75">
                  <c:v>53.008522656267921</c:v>
                </c:pt>
                <c:pt idx="76">
                  <c:v>54.539285359589265</c:v>
                </c:pt>
                <c:pt idx="77">
                  <c:v>56.074060196129736</c:v>
                </c:pt>
                <c:pt idx="78">
                  <c:v>57.610681421669554</c:v>
                </c:pt>
                <c:pt idx="79">
                  <c:v>59.146979533233328</c:v>
                </c:pt>
                <c:pt idx="80">
                  <c:v>60.68079447116866</c:v>
                </c:pt>
                <c:pt idx="81">
                  <c:v>62.209986803989779</c:v>
                </c:pt>
                <c:pt idx="82">
                  <c:v>63.732446714231301</c:v>
                </c:pt>
                <c:pt idx="83">
                  <c:v>65.246105114834734</c:v>
                </c:pt>
                <c:pt idx="84">
                  <c:v>66.748943648782245</c:v>
                </c:pt>
                <c:pt idx="85">
                  <c:v>68.239004350567285</c:v>
                </c:pt>
                <c:pt idx="86">
                  <c:v>69.714398298300139</c:v>
                </c:pt>
                <c:pt idx="87">
                  <c:v>71.173314517259399</c:v>
                </c:pt>
                <c:pt idx="88">
                  <c:v>72.614027815578567</c:v>
                </c:pt>
                <c:pt idx="89">
                  <c:v>74.034904904932318</c:v>
                </c:pt>
                <c:pt idx="90">
                  <c:v>75.434409324507399</c:v>
                </c:pt>
                <c:pt idx="91">
                  <c:v>76.811106504014859</c:v>
                </c:pt>
                <c:pt idx="92">
                  <c:v>78.163667495467408</c:v>
                </c:pt>
                <c:pt idx="93">
                  <c:v>79.490871905328873</c:v>
                </c:pt>
                <c:pt idx="94">
                  <c:v>80.79160983377875</c:v>
                </c:pt>
                <c:pt idx="95">
                  <c:v>82.06488338455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1</c:v>
                </c:pt>
                <c:pt idx="4">
                  <c:v>11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7</c:v>
                </c:pt>
                <c:pt idx="11">
                  <c:v>17</c:v>
                </c:pt>
                <c:pt idx="12">
                  <c:v>18</c:v>
                </c:pt>
                <c:pt idx="13">
                  <c:v>21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  <c:pt idx="18">
                  <c:v>23</c:v>
                </c:pt>
                <c:pt idx="19">
                  <c:v>27</c:v>
                </c:pt>
                <c:pt idx="20">
                  <c:v>30</c:v>
                </c:pt>
                <c:pt idx="21">
                  <c:v>33</c:v>
                </c:pt>
                <c:pt idx="22">
                  <c:v>34</c:v>
                </c:pt>
                <c:pt idx="23">
                  <c:v>36</c:v>
                </c:pt>
                <c:pt idx="24">
                  <c:v>38</c:v>
                </c:pt>
                <c:pt idx="25">
                  <c:v>42</c:v>
                </c:pt>
                <c:pt idx="26">
                  <c:v>46</c:v>
                </c:pt>
                <c:pt idx="27">
                  <c:v>47</c:v>
                </c:pt>
                <c:pt idx="28">
                  <c:v>48</c:v>
                </c:pt>
                <c:pt idx="29">
                  <c:v>51</c:v>
                </c:pt>
                <c:pt idx="30">
                  <c:v>52</c:v>
                </c:pt>
                <c:pt idx="31">
                  <c:v>61</c:v>
                </c:pt>
                <c:pt idx="32">
                  <c:v>63</c:v>
                </c:pt>
                <c:pt idx="33">
                  <c:v>65</c:v>
                </c:pt>
                <c:pt idx="34">
                  <c:v>68</c:v>
                </c:pt>
                <c:pt idx="35">
                  <c:v>73</c:v>
                </c:pt>
                <c:pt idx="36">
                  <c:v>78</c:v>
                </c:pt>
                <c:pt idx="37">
                  <c:v>79</c:v>
                </c:pt>
                <c:pt idx="38">
                  <c:v>86</c:v>
                </c:pt>
                <c:pt idx="39">
                  <c:v>90</c:v>
                </c:pt>
                <c:pt idx="40">
                  <c:v>93</c:v>
                </c:pt>
                <c:pt idx="41">
                  <c:v>97</c:v>
                </c:pt>
                <c:pt idx="42">
                  <c:v>99</c:v>
                </c:pt>
                <c:pt idx="43">
                  <c:v>103</c:v>
                </c:pt>
                <c:pt idx="44">
                  <c:v>107</c:v>
                </c:pt>
                <c:pt idx="45">
                  <c:v>112</c:v>
                </c:pt>
                <c:pt idx="46">
                  <c:v>116</c:v>
                </c:pt>
                <c:pt idx="47">
                  <c:v>124</c:v>
                </c:pt>
                <c:pt idx="48">
                  <c:v>130</c:v>
                </c:pt>
                <c:pt idx="49">
                  <c:v>135</c:v>
                </c:pt>
                <c:pt idx="50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1.41299109936782</c:v>
                </c:pt>
                <c:pt idx="43">
                  <c:v>105.92424481126972</c:v>
                </c:pt>
                <c:pt idx="44">
                  <c:v>110.52200931049019</c:v>
                </c:pt>
                <c:pt idx="45">
                  <c:v>115.18093281487725</c:v>
                </c:pt>
                <c:pt idx="46">
                  <c:v>119.99082632552398</c:v>
                </c:pt>
                <c:pt idx="47">
                  <c:v>124.90401509531331</c:v>
                </c:pt>
                <c:pt idx="48">
                  <c:v>129.94474258850221</c:v>
                </c:pt>
                <c:pt idx="49">
                  <c:v>135.06785613978346</c:v>
                </c:pt>
                <c:pt idx="50">
                  <c:v>140.25510195256709</c:v>
                </c:pt>
                <c:pt idx="51">
                  <c:v>145.52099658320861</c:v>
                </c:pt>
                <c:pt idx="52">
                  <c:v>150.86264530675709</c:v>
                </c:pt>
                <c:pt idx="53">
                  <c:v>156.29526242354029</c:v>
                </c:pt>
                <c:pt idx="54">
                  <c:v>161.79207947755395</c:v>
                </c:pt>
                <c:pt idx="55">
                  <c:v>167.35240382545629</c:v>
                </c:pt>
                <c:pt idx="56">
                  <c:v>172.97083520792302</c:v>
                </c:pt>
                <c:pt idx="57">
                  <c:v>178.64728812063566</c:v>
                </c:pt>
                <c:pt idx="58">
                  <c:v>184.37012987366845</c:v>
                </c:pt>
                <c:pt idx="59">
                  <c:v>190.13275815954711</c:v>
                </c:pt>
                <c:pt idx="60">
                  <c:v>195.93193448540563</c:v>
                </c:pt>
                <c:pt idx="61">
                  <c:v>201.77723830495049</c:v>
                </c:pt>
                <c:pt idx="62">
                  <c:v>207.65643821026612</c:v>
                </c:pt>
                <c:pt idx="63">
                  <c:v>213.56332035592226</c:v>
                </c:pt>
                <c:pt idx="64">
                  <c:v>219.4930970338294</c:v>
                </c:pt>
                <c:pt idx="65">
                  <c:v>225.44098774960199</c:v>
                </c:pt>
                <c:pt idx="66">
                  <c:v>231.40224550624782</c:v>
                </c:pt>
                <c:pt idx="67">
                  <c:v>237.37202715391936</c:v>
                </c:pt>
                <c:pt idx="68">
                  <c:v>243.34542069961788</c:v>
                </c:pt>
                <c:pt idx="69">
                  <c:v>249.31746328466312</c:v>
                </c:pt>
                <c:pt idx="70">
                  <c:v>255.28316294159663</c:v>
                </c:pt>
                <c:pt idx="71">
                  <c:v>261.23751275987166</c:v>
                </c:pt>
                <c:pt idx="72">
                  <c:v>267.17556217013339</c:v>
                </c:pt>
                <c:pt idx="73">
                  <c:v>273.09243745879348</c:v>
                </c:pt>
                <c:pt idx="74">
                  <c:v>278.98334003792138</c:v>
                </c:pt>
                <c:pt idx="75">
                  <c:v>284.84354696587337</c:v>
                </c:pt>
                <c:pt idx="76">
                  <c:v>290.66843106097281</c:v>
                </c:pt>
                <c:pt idx="77">
                  <c:v>296.453467777029</c:v>
                </c:pt>
                <c:pt idx="78">
                  <c:v>302.19425576722682</c:v>
                </c:pt>
                <c:pt idx="79">
                  <c:v>307.88653304929767</c:v>
                </c:pt>
                <c:pt idx="80">
                  <c:v>313.52619258028352</c:v>
                </c:pt>
                <c:pt idx="81">
                  <c:v>319.10929085496468</c:v>
                </c:pt>
                <c:pt idx="82">
                  <c:v>324.6320497019488</c:v>
                </c:pt>
                <c:pt idx="83">
                  <c:v>330.09086527021907</c:v>
                </c:pt>
                <c:pt idx="84">
                  <c:v>335.48231393645017</c:v>
                </c:pt>
                <c:pt idx="85">
                  <c:v>340.80315807653835</c:v>
                </c:pt>
                <c:pt idx="86">
                  <c:v>346.05034997303994</c:v>
                </c:pt>
                <c:pt idx="87">
                  <c:v>351.22103788891343</c:v>
                </c:pt>
                <c:pt idx="88">
                  <c:v>356.3125703276051</c:v>
                </c:pt>
                <c:pt idx="89">
                  <c:v>361.32249665984995</c:v>
                </c:pt>
                <c:pt idx="90">
                  <c:v>366.24856583956114</c:v>
                </c:pt>
                <c:pt idx="91">
                  <c:v>371.08872760746038</c:v>
                </c:pt>
                <c:pt idx="92">
                  <c:v>375.84113150491049</c:v>
                </c:pt>
                <c:pt idx="93">
                  <c:v>380.50412547691928</c:v>
                </c:pt>
                <c:pt idx="94">
                  <c:v>385.07625345860856</c:v>
                </c:pt>
                <c:pt idx="95">
                  <c:v>389.556258159770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1.47211721124815</c:v>
                </c:pt>
                <c:pt idx="43">
                  <c:v>106.06991534312118</c:v>
                </c:pt>
                <c:pt idx="44">
                  <c:v>110.78625601630775</c:v>
                </c:pt>
                <c:pt idx="45">
                  <c:v>115.60033683112573</c:v>
                </c:pt>
                <c:pt idx="46">
                  <c:v>120.60628740331791</c:v>
                </c:pt>
                <c:pt idx="47">
                  <c:v>125.76084611178408</c:v>
                </c:pt>
                <c:pt idx="48">
                  <c:v>131.09226695621766</c:v>
                </c:pt>
                <c:pt idx="49">
                  <c:v>136.55916511076711</c:v>
                </c:pt>
                <c:pt idx="50">
                  <c:v>142.14667932191634</c:v>
                </c:pt>
                <c:pt idx="51">
                  <c:v>147.87224035514157</c:v>
                </c:pt>
                <c:pt idx="52">
                  <c:v>153.73558963394134</c:v>
                </c:pt>
                <c:pt idx="53">
                  <c:v>159.75422043995556</c:v>
                </c:pt>
                <c:pt idx="54">
                  <c:v>165.90354875888193</c:v>
                </c:pt>
                <c:pt idx="55">
                  <c:v>172.18456912281658</c:v>
                </c:pt>
                <c:pt idx="56">
                  <c:v>178.59320045926771</c:v>
                </c:pt>
                <c:pt idx="57">
                  <c:v>185.13034681484902</c:v>
                </c:pt>
                <c:pt idx="58">
                  <c:v>191.78508695135938</c:v>
                </c:pt>
                <c:pt idx="59">
                  <c:v>198.55121326255252</c:v>
                </c:pt>
                <c:pt idx="60">
                  <c:v>205.42555628632886</c:v>
                </c:pt>
                <c:pt idx="61">
                  <c:v>212.41744619347116</c:v>
                </c:pt>
                <c:pt idx="62">
                  <c:v>219.51418284391627</c:v>
                </c:pt>
                <c:pt idx="63">
                  <c:v>226.7087207920512</c:v>
                </c:pt>
                <c:pt idx="64">
                  <c:v>233.99510274218142</c:v>
                </c:pt>
                <c:pt idx="65">
                  <c:v>241.36710515645657</c:v>
                </c:pt>
                <c:pt idx="66">
                  <c:v>248.81828215568029</c:v>
                </c:pt>
                <c:pt idx="67">
                  <c:v>256.34179575117116</c:v>
                </c:pt>
                <c:pt idx="68">
                  <c:v>263.93046133995659</c:v>
                </c:pt>
                <c:pt idx="69">
                  <c:v>271.57677839628906</c:v>
                </c:pt>
                <c:pt idx="70">
                  <c:v>279.27296864848279</c:v>
                </c:pt>
                <c:pt idx="71">
                  <c:v>287.0110037602945</c:v>
                </c:pt>
                <c:pt idx="72">
                  <c:v>294.78271650178613</c:v>
                </c:pt>
                <c:pt idx="73">
                  <c:v>302.57984093496515</c:v>
                </c:pt>
                <c:pt idx="74">
                  <c:v>310.39402342422341</c:v>
                </c:pt>
                <c:pt idx="75">
                  <c:v>318.21683895990952</c:v>
                </c:pt>
                <c:pt idx="76">
                  <c:v>326.03983535815917</c:v>
                </c:pt>
                <c:pt idx="77">
                  <c:v>333.85455969926568</c:v>
                </c:pt>
                <c:pt idx="78">
                  <c:v>341.65260431650552</c:v>
                </c:pt>
                <c:pt idx="79">
                  <c:v>349.42564706894314</c:v>
                </c:pt>
                <c:pt idx="80">
                  <c:v>357.16549139815254</c:v>
                </c:pt>
                <c:pt idx="81">
                  <c:v>364.86409660954553</c:v>
                </c:pt>
                <c:pt idx="82">
                  <c:v>372.51359875067197</c:v>
                </c:pt>
                <c:pt idx="83">
                  <c:v>380.10634120060143</c:v>
                </c:pt>
                <c:pt idx="84">
                  <c:v>387.63490038495104</c:v>
                </c:pt>
                <c:pt idx="85">
                  <c:v>395.09211084193055</c:v>
                </c:pt>
                <c:pt idx="86">
                  <c:v>402.47108687489543</c:v>
                </c:pt>
                <c:pt idx="87">
                  <c:v>409.76524644715113</c:v>
                </c:pt>
                <c:pt idx="88">
                  <c:v>416.96833147742416</c:v>
                </c:pt>
                <c:pt idx="89">
                  <c:v>424.07442209966439</c:v>
                </c:pt>
                <c:pt idx="90">
                  <c:v>431.07794716236316</c:v>
                </c:pt>
                <c:pt idx="91">
                  <c:v>437.97369697498925</c:v>
                </c:pt>
                <c:pt idx="92">
                  <c:v>444.7568317742855</c:v>
                </c:pt>
                <c:pt idx="93">
                  <c:v>451.42288836359887</c:v>
                </c:pt>
                <c:pt idx="94">
                  <c:v>457.9677840700304</c:v>
                </c:pt>
                <c:pt idx="95">
                  <c:v>464.38782043379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1.53157881914096</c:v>
                </c:pt>
                <c:pt idx="43">
                  <c:v>106.21682681896203</c:v>
                </c:pt>
                <c:pt idx="44">
                  <c:v>111.05364065049895</c:v>
                </c:pt>
                <c:pt idx="45">
                  <c:v>116.02630459187927</c:v>
                </c:pt>
                <c:pt idx="46">
                  <c:v>121.23391413638197</c:v>
                </c:pt>
                <c:pt idx="47">
                  <c:v>126.63837319932937</c:v>
                </c:pt>
                <c:pt idx="48">
                  <c:v>132.27279623860449</c:v>
                </c:pt>
                <c:pt idx="49">
                  <c:v>138.10050819668402</c:v>
                </c:pt>
                <c:pt idx="50">
                  <c:v>144.11106231177993</c:v>
                </c:pt>
                <c:pt idx="51">
                  <c:v>150.3258946092551</c:v>
                </c:pt>
                <c:pt idx="52">
                  <c:v>156.74852782711446</c:v>
                </c:pt>
                <c:pt idx="53">
                  <c:v>163.39991279653296</c:v>
                </c:pt>
                <c:pt idx="54">
                  <c:v>170.25884389788388</c:v>
                </c:pt>
                <c:pt idx="55">
                  <c:v>177.32919198361779</c:v>
                </c:pt>
                <c:pt idx="56">
                  <c:v>184.60936691543785</c:v>
                </c:pt>
                <c:pt idx="57">
                  <c:v>192.10239249026753</c:v>
                </c:pt>
                <c:pt idx="58">
                  <c:v>199.79913187866677</c:v>
                </c:pt>
                <c:pt idx="59">
                  <c:v>207.69476850849716</c:v>
                </c:pt>
                <c:pt idx="60">
                  <c:v>215.78709674101702</c:v>
                </c:pt>
                <c:pt idx="61">
                  <c:v>224.08597249496799</c:v>
                </c:pt>
                <c:pt idx="62">
                  <c:v>232.5788635048159</c:v>
                </c:pt>
                <c:pt idx="63">
                  <c:v>241.25837681573074</c:v>
                </c:pt>
                <c:pt idx="64">
                  <c:v>250.11770331739916</c:v>
                </c:pt>
                <c:pt idx="65">
                  <c:v>259.14932687976761</c:v>
                </c:pt>
                <c:pt idx="66">
                  <c:v>268.34507724762022</c:v>
                </c:pt>
                <c:pt idx="67">
                  <c:v>277.69590116296683</c:v>
                </c:pt>
                <c:pt idx="68">
                  <c:v>287.19192319072812</c:v>
                </c:pt>
                <c:pt idx="69">
                  <c:v>296.82248718806665</c:v>
                </c:pt>
                <c:pt idx="70">
                  <c:v>306.57621245177677</c:v>
                </c:pt>
                <c:pt idx="71">
                  <c:v>316.44103824549057</c:v>
                </c:pt>
                <c:pt idx="72">
                  <c:v>326.40438675506971</c:v>
                </c:pt>
                <c:pt idx="73">
                  <c:v>336.45323250883894</c:v>
                </c:pt>
                <c:pt idx="74">
                  <c:v>346.57413650461496</c:v>
                </c:pt>
                <c:pt idx="75">
                  <c:v>356.75329162685836</c:v>
                </c:pt>
                <c:pt idx="76">
                  <c:v>366.97660806829032</c:v>
                </c:pt>
                <c:pt idx="77">
                  <c:v>377.22977710407167</c:v>
                </c:pt>
                <c:pt idx="78">
                  <c:v>387.49836309036056</c:v>
                </c:pt>
                <c:pt idx="79">
                  <c:v>397.76788922872532</c:v>
                </c:pt>
                <c:pt idx="80">
                  <c:v>408.02392452125218</c:v>
                </c:pt>
                <c:pt idx="81">
                  <c:v>418.25215802744543</c:v>
                </c:pt>
                <c:pt idx="82">
                  <c:v>428.43846077011864</c:v>
                </c:pt>
                <c:pt idx="83">
                  <c:v>438.56896035798053</c:v>
                </c:pt>
                <c:pt idx="84">
                  <c:v>448.63010811630909</c:v>
                </c:pt>
                <c:pt idx="85">
                  <c:v>458.60874427429496</c:v>
                </c:pt>
                <c:pt idx="86">
                  <c:v>468.49215689584901</c:v>
                </c:pt>
                <c:pt idx="87">
                  <c:v>478.26814195267514</c:v>
                </c:pt>
                <c:pt idx="88">
                  <c:v>487.92505623767346</c:v>
                </c:pt>
                <c:pt idx="89">
                  <c:v>497.45185976576681</c:v>
                </c:pt>
                <c:pt idx="90">
                  <c:v>506.83815047315744</c:v>
                </c:pt>
                <c:pt idx="91">
                  <c:v>516.07419911078409</c:v>
                </c:pt>
                <c:pt idx="92">
                  <c:v>525.15097547857135</c:v>
                </c:pt>
                <c:pt idx="93">
                  <c:v>534.06016927740757</c:v>
                </c:pt>
                <c:pt idx="94">
                  <c:v>542.79420442872674</c:v>
                </c:pt>
                <c:pt idx="95">
                  <c:v>551.34625020735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1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7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21</c:v>
                </c:pt>
                <c:pt idx="32">
                  <c:v>21</c:v>
                </c:pt>
                <c:pt idx="33">
                  <c:v>21</c:v>
                </c:pt>
                <c:pt idx="34">
                  <c:v>22</c:v>
                </c:pt>
                <c:pt idx="35">
                  <c:v>22</c:v>
                </c:pt>
                <c:pt idx="36">
                  <c:v>24</c:v>
                </c:pt>
                <c:pt idx="37">
                  <c:v>25</c:v>
                </c:pt>
                <c:pt idx="38">
                  <c:v>28</c:v>
                </c:pt>
                <c:pt idx="39">
                  <c:v>28</c:v>
                </c:pt>
                <c:pt idx="40">
                  <c:v>29</c:v>
                </c:pt>
                <c:pt idx="41">
                  <c:v>29</c:v>
                </c:pt>
                <c:pt idx="42">
                  <c:v>34</c:v>
                </c:pt>
                <c:pt idx="43">
                  <c:v>36</c:v>
                </c:pt>
                <c:pt idx="44">
                  <c:v>39</c:v>
                </c:pt>
                <c:pt idx="45">
                  <c:v>44</c:v>
                </c:pt>
                <c:pt idx="46">
                  <c:v>45</c:v>
                </c:pt>
                <c:pt idx="47">
                  <c:v>49</c:v>
                </c:pt>
                <c:pt idx="48">
                  <c:v>53</c:v>
                </c:pt>
                <c:pt idx="49">
                  <c:v>58</c:v>
                </c:pt>
                <c:pt idx="50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1.560207927133234</c:v>
                </c:pt>
                <c:pt idx="43">
                  <c:v>34.176056774524504</c:v>
                </c:pt>
                <c:pt idx="44">
                  <c:v>36.841100835257727</c:v>
                </c:pt>
                <c:pt idx="45">
                  <c:v>39.540784762972891</c:v>
                </c:pt>
                <c:pt idx="46">
                  <c:v>42.326515384861786</c:v>
                </c:pt>
                <c:pt idx="47">
                  <c:v>45.171260658390693</c:v>
                </c:pt>
                <c:pt idx="48">
                  <c:v>48.09037172302876</c:v>
                </c:pt>
                <c:pt idx="49">
                  <c:v>51.056892578373905</c:v>
                </c:pt>
                <c:pt idx="50">
                  <c:v>54.0596109760099</c:v>
                </c:pt>
                <c:pt idx="51">
                  <c:v>57.10805129446063</c:v>
                </c:pt>
                <c:pt idx="52">
                  <c:v>60.201339138090773</c:v>
                </c:pt>
                <c:pt idx="53">
                  <c:v>63.3469169301665</c:v>
                </c:pt>
                <c:pt idx="54">
                  <c:v>66.528979181118771</c:v>
                </c:pt>
                <c:pt idx="55">
                  <c:v>69.74788898095413</c:v>
                </c:pt>
                <c:pt idx="56">
                  <c:v>73.000814040512395</c:v>
                </c:pt>
                <c:pt idx="57">
                  <c:v>76.287844287513565</c:v>
                </c:pt>
                <c:pt idx="58">
                  <c:v>79.601885062247817</c:v>
                </c:pt>
                <c:pt idx="59">
                  <c:v>82.939436354032637</c:v>
                </c:pt>
                <c:pt idx="60">
                  <c:v>86.298593623939411</c:v>
                </c:pt>
                <c:pt idx="61">
                  <c:v>89.684426528767972</c:v>
                </c:pt>
                <c:pt idx="62">
                  <c:v>93.090121397089405</c:v>
                </c:pt>
                <c:pt idx="63">
                  <c:v>96.512136388298018</c:v>
                </c:pt>
                <c:pt idx="64">
                  <c:v>99.947701920516636</c:v>
                </c:pt>
                <c:pt idx="65">
                  <c:v>103.39405198774678</c:v>
                </c:pt>
                <c:pt idx="66">
                  <c:v>106.84843906124624</c:v>
                </c:pt>
                <c:pt idx="67">
                  <c:v>110.30805909912435</c:v>
                </c:pt>
                <c:pt idx="68">
                  <c:v>113.77006684098257</c:v>
                </c:pt>
                <c:pt idx="69">
                  <c:v>117.23158651152926</c:v>
                </c:pt>
                <c:pt idx="70">
                  <c:v>120.68972465930455</c:v>
                </c:pt>
                <c:pt idx="71">
                  <c:v>124.14157872039281</c:v>
                </c:pt>
                <c:pt idx="72">
                  <c:v>127.5842779094221</c:v>
                </c:pt>
                <c:pt idx="73">
                  <c:v>131.01499504474299</c:v>
                </c:pt>
                <c:pt idx="74">
                  <c:v>134.43094550912198</c:v>
                </c:pt>
                <c:pt idx="75">
                  <c:v>137.829387748165</c:v>
                </c:pt>
                <c:pt idx="76">
                  <c:v>141.20763475300799</c:v>
                </c:pt>
                <c:pt idx="77">
                  <c:v>144.56305808185715</c:v>
                </c:pt>
                <c:pt idx="78">
                  <c:v>147.8930999480246</c:v>
                </c:pt>
                <c:pt idx="79">
                  <c:v>151.19528271496631</c:v>
                </c:pt>
                <c:pt idx="80">
                  <c:v>154.46721779791068</c:v>
                </c:pt>
                <c:pt idx="81">
                  <c:v>157.70661059995928</c:v>
                </c:pt>
                <c:pt idx="82">
                  <c:v>160.91126185300575</c:v>
                </c:pt>
                <c:pt idx="83">
                  <c:v>164.07907287901247</c:v>
                </c:pt>
                <c:pt idx="84">
                  <c:v>167.20804902633873</c:v>
                </c:pt>
                <c:pt idx="85">
                  <c:v>170.29630305587028</c:v>
                </c:pt>
                <c:pt idx="86">
                  <c:v>173.3420574974418</c:v>
                </c:pt>
                <c:pt idx="87">
                  <c:v>176.34364817209666</c:v>
                </c:pt>
                <c:pt idx="88">
                  <c:v>179.29952663798736</c:v>
                </c:pt>
                <c:pt idx="89">
                  <c:v>182.20826066243049</c:v>
                </c:pt>
                <c:pt idx="90">
                  <c:v>185.06853362021184</c:v>
                </c:pt>
                <c:pt idx="91">
                  <c:v>187.87914521283452</c:v>
                </c:pt>
                <c:pt idx="92">
                  <c:v>190.63901094692983</c:v>
                </c:pt>
                <c:pt idx="93">
                  <c:v>193.34716136466599</c:v>
                </c:pt>
                <c:pt idx="94">
                  <c:v>196.00274069845014</c:v>
                </c:pt>
                <c:pt idx="95">
                  <c:v>198.60500833432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1.594094073630934</c:v>
                </c:pt>
                <c:pt idx="43">
                  <c:v>34.259556474195101</c:v>
                </c:pt>
                <c:pt idx="44">
                  <c:v>36.992602499758398</c:v>
                </c:pt>
                <c:pt idx="45">
                  <c:v>39.781303259168055</c:v>
                </c:pt>
                <c:pt idx="46">
                  <c:v>42.679560115065598</c:v>
                </c:pt>
                <c:pt idx="47">
                  <c:v>45.662891247264291</c:v>
                </c:pt>
                <c:pt idx="48">
                  <c:v>48.748975701415318</c:v>
                </c:pt>
                <c:pt idx="49">
                  <c:v>51.913049716600199</c:v>
                </c:pt>
                <c:pt idx="50">
                  <c:v>55.145875474695828</c:v>
                </c:pt>
                <c:pt idx="51">
                  <c:v>58.458675233672025</c:v>
                </c:pt>
                <c:pt idx="52">
                  <c:v>61.852115668400423</c:v>
                </c:pt>
                <c:pt idx="53">
                  <c:v>65.334979958747198</c:v>
                </c:pt>
                <c:pt idx="54">
                  <c:v>68.892741930866038</c:v>
                </c:pt>
                <c:pt idx="55">
                  <c:v>72.526758637493458</c:v>
                </c:pt>
                <c:pt idx="56">
                  <c:v>76.234982148439371</c:v>
                </c:pt>
                <c:pt idx="57">
                  <c:v>80.018097707052704</c:v>
                </c:pt>
                <c:pt idx="58">
                  <c:v>83.869445440748621</c:v>
                </c:pt>
                <c:pt idx="59">
                  <c:v>87.785775587130672</c:v>
                </c:pt>
                <c:pt idx="60">
                  <c:v>91.765244647788606</c:v>
                </c:pt>
                <c:pt idx="61">
                  <c:v>95.812798349291384</c:v>
                </c:pt>
                <c:pt idx="62">
                  <c:v>99.921367914244087</c:v>
                </c:pt>
                <c:pt idx="63">
                  <c:v>104.08694741825768</c:v>
                </c:pt>
                <c:pt idx="64">
                  <c:v>108.30610792531172</c:v>
                </c:pt>
                <c:pt idx="65">
                  <c:v>112.57526526451454</c:v>
                </c:pt>
                <c:pt idx="66">
                  <c:v>116.89070480316927</c:v>
                </c:pt>
                <c:pt idx="67">
                  <c:v>121.24848322106662</c:v>
                </c:pt>
                <c:pt idx="68">
                  <c:v>125.64445402470267</c:v>
                </c:pt>
                <c:pt idx="69">
                  <c:v>130.07428564424816</c:v>
                </c:pt>
                <c:pt idx="70">
                  <c:v>134.53348379675549</c:v>
                </c:pt>
                <c:pt idx="71">
                  <c:v>139.0174079842258</c:v>
                </c:pt>
                <c:pt idx="72">
                  <c:v>143.52133521776204</c:v>
                </c:pt>
                <c:pt idx="73">
                  <c:v>148.04048316457158</c:v>
                </c:pt>
                <c:pt idx="74">
                  <c:v>152.57001643073426</c:v>
                </c:pt>
                <c:pt idx="75">
                  <c:v>157.10505622821654</c:v>
                </c:pt>
                <c:pt idx="76">
                  <c:v>161.64070569921284</c:v>
                </c:pt>
                <c:pt idx="77">
                  <c:v>166.17206525401872</c:v>
                </c:pt>
                <c:pt idx="78">
                  <c:v>170.69425942929539</c:v>
                </c:pt>
                <c:pt idx="79">
                  <c:v>175.20246038023615</c:v>
                </c:pt>
                <c:pt idx="80">
                  <c:v>179.69191090297747</c:v>
                </c:pt>
                <c:pt idx="81">
                  <c:v>184.15794192285114</c:v>
                </c:pt>
                <c:pt idx="82">
                  <c:v>188.59598501227038</c:v>
                </c:pt>
                <c:pt idx="83">
                  <c:v>193.00159020066477</c:v>
                </c:pt>
                <c:pt idx="84">
                  <c:v>197.37044092367427</c:v>
                </c:pt>
                <c:pt idx="85">
                  <c:v>201.6983686437971</c:v>
                </c:pt>
                <c:pt idx="86">
                  <c:v>205.98136557451585</c:v>
                </c:pt>
                <c:pt idx="87">
                  <c:v>210.21559857947503</c:v>
                </c:pt>
                <c:pt idx="88">
                  <c:v>214.39742096203722</c:v>
                </c:pt>
                <c:pt idx="89">
                  <c:v>218.52338094356406</c:v>
                </c:pt>
                <c:pt idx="90">
                  <c:v>222.59022801331105</c:v>
                </c:pt>
                <c:pt idx="91">
                  <c:v>226.594920417829</c:v>
                </c:pt>
                <c:pt idx="92">
                  <c:v>230.53463021232545</c:v>
                </c:pt>
                <c:pt idx="93">
                  <c:v>234.40674724127783</c:v>
                </c:pt>
                <c:pt idx="94">
                  <c:v>238.20888158416577</c:v>
                </c:pt>
                <c:pt idx="95">
                  <c:v>241.93886578106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1.62817254180122</c:v>
                </c:pt>
                <c:pt idx="43">
                  <c:v>34.343767499549358</c:v>
                </c:pt>
                <c:pt idx="44">
                  <c:v>37.145902917298905</c:v>
                </c:pt>
                <c:pt idx="45">
                  <c:v>40.025584629663356</c:v>
                </c:pt>
                <c:pt idx="46">
                  <c:v>43.03958023072007</c:v>
                </c:pt>
                <c:pt idx="47">
                  <c:v>46.166390611938326</c:v>
                </c:pt>
                <c:pt idx="48">
                  <c:v>49.426511713710148</c:v>
                </c:pt>
                <c:pt idx="49">
                  <c:v>52.797914409065584</c:v>
                </c:pt>
                <c:pt idx="50">
                  <c:v>56.273924395138266</c:v>
                </c:pt>
                <c:pt idx="51">
                  <c:v>59.868091428211585</c:v>
                </c:pt>
                <c:pt idx="52">
                  <c:v>63.583284827044999</c:v>
                </c:pt>
                <c:pt idx="53">
                  <c:v>67.430310154611121</c:v>
                </c:pt>
                <c:pt idx="54">
                  <c:v>71.396611895205353</c:v>
                </c:pt>
                <c:pt idx="55">
                  <c:v>75.485230592078736</c:v>
                </c:pt>
                <c:pt idx="56">
                  <c:v>79.695583024041241</c:v>
                </c:pt>
                <c:pt idx="57">
                  <c:v>84.029607036826832</c:v>
                </c:pt>
                <c:pt idx="58">
                  <c:v>88.481702644236037</c:v>
                </c:pt>
                <c:pt idx="59">
                  <c:v>93.049452047061266</c:v>
                </c:pt>
                <c:pt idx="60">
                  <c:v>97.731596732696829</c:v>
                </c:pt>
                <c:pt idx="61">
                  <c:v>102.53341404830243</c:v>
                </c:pt>
                <c:pt idx="62">
                  <c:v>107.44795640503141</c:v>
                </c:pt>
                <c:pt idx="63">
                  <c:v>112.47104258130547</c:v>
                </c:pt>
                <c:pt idx="64">
                  <c:v>117.59877747960283</c:v>
                </c:pt>
                <c:pt idx="65">
                  <c:v>122.82685555870931</c:v>
                </c:pt>
                <c:pt idx="66">
                  <c:v>128.15059034905909</c:v>
                </c:pt>
                <c:pt idx="67">
                  <c:v>133.56478189348829</c:v>
                </c:pt>
                <c:pt idx="68">
                  <c:v>139.06375063221051</c:v>
                </c:pt>
                <c:pt idx="69">
                  <c:v>144.64136164307877</c:v>
                </c:pt>
                <c:pt idx="70">
                  <c:v>150.29105728695282</c:v>
                </c:pt>
                <c:pt idx="71">
                  <c:v>156.00588344761763</c:v>
                </c:pt>
                <c:pt idx="72">
                  <c:v>161.77858277723533</c:v>
                </c:pt>
                <c:pt idx="73">
                  <c:v>167.60163454756542</c:v>
                </c:pt>
                <c:pt idx="74">
                  <c:v>173.46727411586906</c:v>
                </c:pt>
                <c:pt idx="75">
                  <c:v>179.36751933576926</c:v>
                </c:pt>
                <c:pt idx="76">
                  <c:v>185.29421951047527</c:v>
                </c:pt>
                <c:pt idx="77">
                  <c:v>191.23909223944469</c:v>
                </c:pt>
                <c:pt idx="78">
                  <c:v>197.19377689614925</c:v>
                </c:pt>
                <c:pt idx="79">
                  <c:v>203.14988444747542</c:v>
                </c:pt>
                <c:pt idx="80">
                  <c:v>209.09904751911367</c:v>
                </c:pt>
                <c:pt idx="81">
                  <c:v>215.03296331882677</c:v>
                </c:pt>
                <c:pt idx="82">
                  <c:v>220.94343006121483</c:v>
                </c:pt>
                <c:pt idx="83">
                  <c:v>226.82239033614928</c:v>
                </c:pt>
                <c:pt idx="84">
                  <c:v>232.66197012444903</c:v>
                </c:pt>
                <c:pt idx="85">
                  <c:v>238.45451677625198</c:v>
                </c:pt>
                <c:pt idx="86">
                  <c:v>244.19263349963427</c:v>
                </c:pt>
                <c:pt idx="87">
                  <c:v>249.86921435925569</c:v>
                </c:pt>
                <c:pt idx="88">
                  <c:v>255.47747511648154</c:v>
                </c:pt>
                <c:pt idx="89">
                  <c:v>261.01097824180465</c:v>
                </c:pt>
                <c:pt idx="90">
                  <c:v>266.46365354487989</c:v>
                </c:pt>
                <c:pt idx="91">
                  <c:v>271.82981870904473</c:v>
                </c:pt>
                <c:pt idx="92">
                  <c:v>277.10419487150114</c:v>
                </c:pt>
                <c:pt idx="93">
                  <c:v>282.28191907139455</c:v>
                </c:pt>
                <c:pt idx="94">
                  <c:v>287.3585529388651</c:v>
                </c:pt>
                <c:pt idx="95">
                  <c:v>292.33008944632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8</c:v>
                </c:pt>
                <c:pt idx="17">
                  <c:v>9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3</c:v>
                </c:pt>
                <c:pt idx="23">
                  <c:v>13</c:v>
                </c:pt>
                <c:pt idx="24">
                  <c:v>14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  <c:pt idx="28">
                  <c:v>16</c:v>
                </c:pt>
                <c:pt idx="29">
                  <c:v>19</c:v>
                </c:pt>
                <c:pt idx="30">
                  <c:v>21</c:v>
                </c:pt>
                <c:pt idx="31">
                  <c:v>26</c:v>
                </c:pt>
                <c:pt idx="32">
                  <c:v>31</c:v>
                </c:pt>
                <c:pt idx="33">
                  <c:v>32</c:v>
                </c:pt>
                <c:pt idx="34">
                  <c:v>36</c:v>
                </c:pt>
                <c:pt idx="35">
                  <c:v>38</c:v>
                </c:pt>
                <c:pt idx="36">
                  <c:v>40</c:v>
                </c:pt>
                <c:pt idx="37">
                  <c:v>40</c:v>
                </c:pt>
                <c:pt idx="38">
                  <c:v>46</c:v>
                </c:pt>
                <c:pt idx="39">
                  <c:v>46</c:v>
                </c:pt>
                <c:pt idx="40">
                  <c:v>47</c:v>
                </c:pt>
                <c:pt idx="41">
                  <c:v>51</c:v>
                </c:pt>
                <c:pt idx="42">
                  <c:v>53</c:v>
                </c:pt>
                <c:pt idx="43">
                  <c:v>56</c:v>
                </c:pt>
                <c:pt idx="44">
                  <c:v>56</c:v>
                </c:pt>
                <c:pt idx="45">
                  <c:v>59</c:v>
                </c:pt>
                <c:pt idx="46">
                  <c:v>64</c:v>
                </c:pt>
                <c:pt idx="47">
                  <c:v>69</c:v>
                </c:pt>
                <c:pt idx="48">
                  <c:v>74</c:v>
                </c:pt>
                <c:pt idx="49">
                  <c:v>82</c:v>
                </c:pt>
                <c:pt idx="50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4.448995445329551</c:v>
                </c:pt>
                <c:pt idx="43">
                  <c:v>57.974052379157143</c:v>
                </c:pt>
                <c:pt idx="44">
                  <c:v>61.56618659949666</c:v>
                </c:pt>
                <c:pt idx="45">
                  <c:v>65.20566648315264</c:v>
                </c:pt>
                <c:pt idx="46">
                  <c:v>68.962308619706164</c:v>
                </c:pt>
                <c:pt idx="47">
                  <c:v>72.799190147477589</c:v>
                </c:pt>
                <c:pt idx="48">
                  <c:v>76.735951638409944</c:v>
                </c:pt>
                <c:pt idx="49">
                  <c:v>80.73689403607662</c:v>
                </c:pt>
                <c:pt idx="50">
                  <c:v>84.787415743899203</c:v>
                </c:pt>
                <c:pt idx="51">
                  <c:v>88.899456265497165</c:v>
                </c:pt>
                <c:pt idx="52">
                  <c:v>93.071186908186917</c:v>
                </c:pt>
                <c:pt idx="53">
                  <c:v>97.313752738533012</c:v>
                </c:pt>
                <c:pt idx="54">
                  <c:v>101.60608419751759</c:v>
                </c:pt>
                <c:pt idx="55">
                  <c:v>105.94805205904198</c:v>
                </c:pt>
                <c:pt idx="56">
                  <c:v>110.33559772011591</c:v>
                </c:pt>
                <c:pt idx="57">
                  <c:v>114.76872952930734</c:v>
                </c:pt>
                <c:pt idx="58">
                  <c:v>119.23816952855165</c:v>
                </c:pt>
                <c:pt idx="59">
                  <c:v>123.738935622154</c:v>
                </c:pt>
                <c:pt idx="60">
                  <c:v>128.26848289326225</c:v>
                </c:pt>
                <c:pt idx="61">
                  <c:v>132.83403535813085</c:v>
                </c:pt>
                <c:pt idx="62">
                  <c:v>137.42618564975822</c:v>
                </c:pt>
                <c:pt idx="63">
                  <c:v>142.04011132186054</c:v>
                </c:pt>
                <c:pt idx="64">
                  <c:v>146.67207483738437</c:v>
                </c:pt>
                <c:pt idx="65">
                  <c:v>151.31834396898699</c:v>
                </c:pt>
                <c:pt idx="66">
                  <c:v>155.97521215414423</c:v>
                </c:pt>
                <c:pt idx="67">
                  <c:v>160.63889728838188</c:v>
                </c:pt>
                <c:pt idx="68">
                  <c:v>165.30556277345093</c:v>
                </c:pt>
                <c:pt idx="69">
                  <c:v>169.97133171529771</c:v>
                </c:pt>
                <c:pt idx="70">
                  <c:v>174.63230404487024</c:v>
                </c:pt>
                <c:pt idx="71">
                  <c:v>179.28456777550028</c:v>
                </c:pt>
                <c:pt idx="72">
                  <c:v>183.92425446510006</c:v>
                </c:pt>
                <c:pt idx="73">
                  <c:v>188.54755520826856</c:v>
                </c:pt>
                <c:pt idx="74">
                  <c:v>193.15071926494744</c:v>
                </c:pt>
                <c:pt idx="75">
                  <c:v>197.73005457312252</c:v>
                </c:pt>
                <c:pt idx="76">
                  <c:v>202.28194336839465</c:v>
                </c:pt>
                <c:pt idx="77">
                  <c:v>206.80284757518857</c:v>
                </c:pt>
                <c:pt idx="78">
                  <c:v>211.28932496360412</c:v>
                </c:pt>
                <c:pt idx="79">
                  <c:v>215.73804184629975</c:v>
                </c:pt>
                <c:pt idx="80">
                  <c:v>220.14578517877476</c:v>
                </c:pt>
                <c:pt idx="81">
                  <c:v>224.50946925133744</c:v>
                </c:pt>
                <c:pt idx="82">
                  <c:v>228.82613725388993</c:v>
                </c:pt>
                <c:pt idx="83">
                  <c:v>233.09296832511333</c:v>
                </c:pt>
                <c:pt idx="84">
                  <c:v>237.30728217430834</c:v>
                </c:pt>
                <c:pt idx="85">
                  <c:v>241.46654361250819</c:v>
                </c:pt>
                <c:pt idx="86">
                  <c:v>245.56836565458235</c:v>
                </c:pt>
                <c:pt idx="87">
                  <c:v>249.61051426542619</c:v>
                </c:pt>
                <c:pt idx="88">
                  <c:v>253.59091167566069</c:v>
                </c:pt>
                <c:pt idx="89">
                  <c:v>257.50763692992126</c:v>
                </c:pt>
                <c:pt idx="90">
                  <c:v>261.35892496045096</c:v>
                </c:pt>
                <c:pt idx="91">
                  <c:v>265.14316753909571</c:v>
                </c:pt>
                <c:pt idx="92">
                  <c:v>268.85891253378838</c:v>
                </c:pt>
                <c:pt idx="93">
                  <c:v>272.50486283874341</c:v>
                </c:pt>
                <c:pt idx="94">
                  <c:v>276.07987451773715</c:v>
                </c:pt>
                <c:pt idx="95">
                  <c:v>279.58295889846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4.494981623239248</c:v>
                </c:pt>
                <c:pt idx="43">
                  <c:v>58.087357001669702</c:v>
                </c:pt>
                <c:pt idx="44">
                  <c:v>61.771739245890132</c:v>
                </c:pt>
                <c:pt idx="45">
                  <c:v>65.53194538600998</c:v>
                </c:pt>
                <c:pt idx="46">
                  <c:v>69.441161363548787</c:v>
                </c:pt>
                <c:pt idx="47">
                  <c:v>73.465907995719419</c:v>
                </c:pt>
                <c:pt idx="48">
                  <c:v>77.628960946508016</c:v>
                </c:pt>
                <c:pt idx="49">
                  <c:v>81.897569337249024</c:v>
                </c:pt>
                <c:pt idx="50">
                  <c:v>86.259786391219365</c:v>
                </c:pt>
                <c:pt idx="51">
                  <c:v>90.729833102529227</c:v>
                </c:pt>
                <c:pt idx="52">
                  <c:v>95.307947378351017</c:v>
                </c:pt>
                <c:pt idx="53">
                  <c:v>100.00706545542823</c:v>
                </c:pt>
                <c:pt idx="54">
                  <c:v>104.80783150470967</c:v>
                </c:pt>
                <c:pt idx="55">
                  <c:v>109.71144307935037</c:v>
                </c:pt>
                <c:pt idx="56">
                  <c:v>114.71488284575375</c:v>
                </c:pt>
                <c:pt idx="57">
                  <c:v>119.81894397626768</c:v>
                </c:pt>
                <c:pt idx="58">
                  <c:v>125.01491642394785</c:v>
                </c:pt>
                <c:pt idx="59">
                  <c:v>130.29813802860474</c:v>
                </c:pt>
                <c:pt idx="60">
                  <c:v>135.66612913445118</c:v>
                </c:pt>
                <c:pt idx="61">
                  <c:v>141.12593007737021</c:v>
                </c:pt>
                <c:pt idx="62">
                  <c:v>146.66777621780543</c:v>
                </c:pt>
                <c:pt idx="63">
                  <c:v>152.2862050657985</c:v>
                </c:pt>
                <c:pt idx="64">
                  <c:v>157.97657532334216</c:v>
                </c:pt>
                <c:pt idx="65">
                  <c:v>163.73403719263086</c:v>
                </c:pt>
                <c:pt idx="66">
                  <c:v>169.55356631192961</c:v>
                </c:pt>
                <c:pt idx="67">
                  <c:v>175.42983121558126</c:v>
                </c:pt>
                <c:pt idx="68">
                  <c:v>181.35722841693183</c:v>
                </c:pt>
                <c:pt idx="69">
                  <c:v>187.32990655233127</c:v>
                </c:pt>
                <c:pt idx="70">
                  <c:v>193.34179633416835</c:v>
                </c:pt>
                <c:pt idx="71">
                  <c:v>199.38663242171714</c:v>
                </c:pt>
                <c:pt idx="72">
                  <c:v>205.4580398914149</c:v>
                </c:pt>
                <c:pt idx="73">
                  <c:v>211.54956555428771</c:v>
                </c:pt>
                <c:pt idx="74">
                  <c:v>217.65468650466312</c:v>
                </c:pt>
                <c:pt idx="75">
                  <c:v>223.76682298399669</c:v>
                </c:pt>
                <c:pt idx="76">
                  <c:v>229.87937275398389</c:v>
                </c:pt>
                <c:pt idx="77">
                  <c:v>235.98573175937887</c:v>
                </c:pt>
                <c:pt idx="78">
                  <c:v>242.07933016654741</c:v>
                </c:pt>
                <c:pt idx="79">
                  <c:v>248.15366390773235</c:v>
                </c:pt>
                <c:pt idx="80">
                  <c:v>254.20232587089274</c:v>
                </c:pt>
                <c:pt idx="81">
                  <c:v>260.21902952337723</c:v>
                </c:pt>
                <c:pt idx="82">
                  <c:v>266.19762544781742</c:v>
                </c:pt>
                <c:pt idx="83">
                  <c:v>272.13212528358594</c:v>
                </c:pt>
                <c:pt idx="84">
                  <c:v>278.01672184096822</c:v>
                </c:pt>
                <c:pt idx="85">
                  <c:v>283.84580873395885</c:v>
                </c:pt>
                <c:pt idx="86">
                  <c:v>289.61399739038779</c:v>
                </c:pt>
                <c:pt idx="87">
                  <c:v>295.31613574671439</c:v>
                </c:pt>
                <c:pt idx="88">
                  <c:v>300.94732411818404</c:v>
                </c:pt>
                <c:pt idx="89">
                  <c:v>306.50292645432086</c:v>
                </c:pt>
                <c:pt idx="90">
                  <c:v>311.97857868409363</c:v>
                </c:pt>
                <c:pt idx="91">
                  <c:v>317.37019872888339</c:v>
                </c:pt>
                <c:pt idx="92">
                  <c:v>322.67399319458048</c:v>
                </c:pt>
                <c:pt idx="93">
                  <c:v>327.8864626299731</c:v>
                </c:pt>
                <c:pt idx="94">
                  <c:v>333.00440470028178</c:v>
                </c:pt>
                <c:pt idx="95">
                  <c:v>338.0249171164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.541228761342737</c:v>
                </c:pt>
                <c:pt idx="43">
                  <c:v>58.201626850898322</c:v>
                </c:pt>
                <c:pt idx="44">
                  <c:v>61.979732651995818</c:v>
                </c:pt>
                <c:pt idx="45">
                  <c:v>65.863329919149606</c:v>
                </c:pt>
                <c:pt idx="46">
                  <c:v>69.929477761908174</c:v>
                </c:pt>
                <c:pt idx="47">
                  <c:v>74.148726558830546</c:v>
                </c:pt>
                <c:pt idx="48">
                  <c:v>78.547649120452917</c:v>
                </c:pt>
                <c:pt idx="49">
                  <c:v>83.09717672348404</c:v>
                </c:pt>
                <c:pt idx="50">
                  <c:v>87.788814072285248</c:v>
                </c:pt>
                <c:pt idx="51">
                  <c:v>92.639914559074725</c:v>
                </c:pt>
                <c:pt idx="52">
                  <c:v>97.653676193953885</c:v>
                </c:pt>
                <c:pt idx="53">
                  <c:v>102.84574635609084</c:v>
                </c:pt>
                <c:pt idx="54">
                  <c:v>108.19941536851742</c:v>
                </c:pt>
                <c:pt idx="55">
                  <c:v>113.71813675316551</c:v>
                </c:pt>
                <c:pt idx="56">
                  <c:v>119.40085053143301</c:v>
                </c:pt>
                <c:pt idx="57">
                  <c:v>125.25001887380351</c:v>
                </c:pt>
                <c:pt idx="58">
                  <c:v>131.25833963126934</c:v>
                </c:pt>
                <c:pt idx="59">
                  <c:v>137.42225125608402</c:v>
                </c:pt>
                <c:pt idx="60">
                  <c:v>143.74004128491441</c:v>
                </c:pt>
                <c:pt idx="61">
                  <c:v>150.21917528916731</c:v>
                </c:pt>
                <c:pt idx="62">
                  <c:v>156.85003265264379</c:v>
                </c:pt>
                <c:pt idx="63">
                  <c:v>163.62689346319723</c:v>
                </c:pt>
                <c:pt idx="64">
                  <c:v>170.54446577934146</c:v>
                </c:pt>
                <c:pt idx="65">
                  <c:v>177.59690494229642</c:v>
                </c:pt>
                <c:pt idx="66">
                  <c:v>184.7778542848111</c:v>
                </c:pt>
                <c:pt idx="67">
                  <c:v>192.08026637175914</c:v>
                </c:pt>
                <c:pt idx="68">
                  <c:v>199.49644978277274</c:v>
                </c:pt>
                <c:pt idx="69">
                  <c:v>207.01810162071325</c:v>
                </c:pt>
                <c:pt idx="70">
                  <c:v>214.63635143236991</c:v>
                </c:pt>
                <c:pt idx="71">
                  <c:v>222.34179622838457</c:v>
                </c:pt>
                <c:pt idx="72">
                  <c:v>230.12462714495797</c:v>
                </c:pt>
                <c:pt idx="73">
                  <c:v>237.97468347163223</c:v>
                </c:pt>
                <c:pt idx="74">
                  <c:v>245.88147914404738</c:v>
                </c:pt>
                <c:pt idx="75">
                  <c:v>253.8342382733403</c:v>
                </c:pt>
                <c:pt idx="76">
                  <c:v>261.82196158224497</c:v>
                </c:pt>
                <c:pt idx="77">
                  <c:v>269.83347616618408</c:v>
                </c:pt>
                <c:pt idx="78">
                  <c:v>277.85750745154411</c:v>
                </c:pt>
                <c:pt idx="79">
                  <c:v>285.88274625920485</c:v>
                </c:pt>
                <c:pt idx="80">
                  <c:v>293.89791655902451</c:v>
                </c:pt>
                <c:pt idx="81">
                  <c:v>301.89183342107685</c:v>
                </c:pt>
                <c:pt idx="82">
                  <c:v>309.85345167322953</c:v>
                </c:pt>
                <c:pt idx="83">
                  <c:v>317.7719242637225</c:v>
                </c:pt>
                <c:pt idx="84">
                  <c:v>325.63665476500705</c:v>
                </c:pt>
                <c:pt idx="85">
                  <c:v>333.4373484073206</c:v>
                </c:pt>
                <c:pt idx="86">
                  <c:v>341.16405829785617</c:v>
                </c:pt>
                <c:pt idx="87">
                  <c:v>348.80723245042725</c:v>
                </c:pt>
                <c:pt idx="88">
                  <c:v>356.35775521685821</c:v>
                </c:pt>
                <c:pt idx="89">
                  <c:v>363.80698064832802</c:v>
                </c:pt>
                <c:pt idx="90">
                  <c:v>371.14675988368356</c:v>
                </c:pt>
                <c:pt idx="91">
                  <c:v>378.36946857737246</c:v>
                </c:pt>
                <c:pt idx="92">
                  <c:v>385.46802759707674</c:v>
                </c:pt>
                <c:pt idx="93">
                  <c:v>392.43591950965185</c:v>
                </c:pt>
                <c:pt idx="94">
                  <c:v>399.2671999782101</c:v>
                </c:pt>
                <c:pt idx="95">
                  <c:v>405.956506620653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8</c:v>
                </c:pt>
                <c:pt idx="35">
                  <c:v>21</c:v>
                </c:pt>
                <c:pt idx="36">
                  <c:v>23</c:v>
                </c:pt>
                <c:pt idx="37">
                  <c:v>28</c:v>
                </c:pt>
                <c:pt idx="38">
                  <c:v>30</c:v>
                </c:pt>
                <c:pt idx="39">
                  <c:v>32</c:v>
                </c:pt>
                <c:pt idx="40">
                  <c:v>35</c:v>
                </c:pt>
                <c:pt idx="41">
                  <c:v>35</c:v>
                </c:pt>
                <c:pt idx="42">
                  <c:v>38</c:v>
                </c:pt>
                <c:pt idx="43">
                  <c:v>43</c:v>
                </c:pt>
                <c:pt idx="44">
                  <c:v>46</c:v>
                </c:pt>
                <c:pt idx="45">
                  <c:v>46</c:v>
                </c:pt>
                <c:pt idx="46">
                  <c:v>49</c:v>
                </c:pt>
                <c:pt idx="47">
                  <c:v>50</c:v>
                </c:pt>
                <c:pt idx="48">
                  <c:v>51</c:v>
                </c:pt>
                <c:pt idx="49">
                  <c:v>53</c:v>
                </c:pt>
                <c:pt idx="50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7.157405289597243</c:v>
                </c:pt>
                <c:pt idx="43">
                  <c:v>39.371066522594212</c:v>
                </c:pt>
                <c:pt idx="44">
                  <c:v>41.633000360303086</c:v>
                </c:pt>
                <c:pt idx="45">
                  <c:v>43.929895433292351</c:v>
                </c:pt>
                <c:pt idx="46">
                  <c:v>46.309851601752882</c:v>
                </c:pt>
                <c:pt idx="47">
                  <c:v>48.74579342850258</c:v>
                </c:pt>
                <c:pt idx="48">
                  <c:v>51.241837285916539</c:v>
                </c:pt>
                <c:pt idx="49">
                  <c:v>53.780483335998312</c:v>
                </c:pt>
                <c:pt idx="50">
                  <c:v>56.356550153266127</c:v>
                </c:pt>
                <c:pt idx="51">
                  <c:v>58.970503493520738</c:v>
                </c:pt>
                <c:pt idx="52">
                  <c:v>61.616086836812059</c:v>
                </c:pt>
                <c:pt idx="53">
                  <c:v>64.309062909761565</c:v>
                </c:pt>
                <c:pt idx="54">
                  <c:v>67.038003389251628</c:v>
                </c:pt>
                <c:pt idx="55">
                  <c:v>69.797969214778306</c:v>
                </c:pt>
                <c:pt idx="56">
                  <c:v>72.584511946524202</c:v>
                </c:pt>
                <c:pt idx="57">
                  <c:v>75.396750600854716</c:v>
                </c:pt>
                <c:pt idx="58">
                  <c:v>78.231078703180344</c:v>
                </c:pt>
                <c:pt idx="59">
                  <c:v>81.082281841374112</c:v>
                </c:pt>
                <c:pt idx="60">
                  <c:v>83.948931474323018</c:v>
                </c:pt>
                <c:pt idx="61">
                  <c:v>86.838645025229496</c:v>
                </c:pt>
                <c:pt idx="62">
                  <c:v>89.743744374622935</c:v>
                </c:pt>
                <c:pt idx="63">
                  <c:v>92.660812000461647</c:v>
                </c:pt>
                <c:pt idx="64">
                  <c:v>95.587459079012532</c:v>
                </c:pt>
                <c:pt idx="65">
                  <c:v>98.521303976825848</c:v>
                </c:pt>
                <c:pt idx="66">
                  <c:v>101.45998718815989</c:v>
                </c:pt>
                <c:pt idx="67">
                  <c:v>104.4011065897853</c:v>
                </c:pt>
                <c:pt idx="68">
                  <c:v>107.34223409476695</c:v>
                </c:pt>
                <c:pt idx="69">
                  <c:v>110.28092279368104</c:v>
                </c:pt>
                <c:pt idx="70">
                  <c:v>113.21471628955219</c:v>
                </c:pt>
                <c:pt idx="71">
                  <c:v>116.14115354549911</c:v>
                </c:pt>
                <c:pt idx="72">
                  <c:v>119.05780652904511</c:v>
                </c:pt>
                <c:pt idx="73">
                  <c:v>121.96229070070598</c:v>
                </c:pt>
                <c:pt idx="74">
                  <c:v>124.85226438216684</c:v>
                </c:pt>
                <c:pt idx="75">
                  <c:v>127.72542782973649</c:v>
                </c:pt>
                <c:pt idx="76">
                  <c:v>130.57953418796251</c:v>
                </c:pt>
                <c:pt idx="77">
                  <c:v>133.41239265429877</c:v>
                </c:pt>
                <c:pt idx="78">
                  <c:v>136.22187758299333</c:v>
                </c:pt>
                <c:pt idx="79">
                  <c:v>139.00593568555456</c:v>
                </c:pt>
                <c:pt idx="80">
                  <c:v>141.76259445144538</c:v>
                </c:pt>
                <c:pt idx="81">
                  <c:v>144.48996666618319</c:v>
                </c:pt>
                <c:pt idx="82">
                  <c:v>147.18624949167776</c:v>
                </c:pt>
                <c:pt idx="83">
                  <c:v>149.84972857261181</c:v>
                </c:pt>
                <c:pt idx="84">
                  <c:v>152.47878086915159</c:v>
                </c:pt>
                <c:pt idx="85">
                  <c:v>155.07187725140236</c:v>
                </c:pt>
                <c:pt idx="86">
                  <c:v>157.62758387131572</c:v>
                </c:pt>
                <c:pt idx="87">
                  <c:v>160.14456514063872</c:v>
                </c:pt>
                <c:pt idx="88">
                  <c:v>162.62158596752579</c:v>
                </c:pt>
                <c:pt idx="89">
                  <c:v>165.05751141093546</c:v>
                </c:pt>
                <c:pt idx="90">
                  <c:v>167.45130519111453</c:v>
                </c:pt>
                <c:pt idx="91">
                  <c:v>169.80203015197137</c:v>
                </c:pt>
                <c:pt idx="92">
                  <c:v>172.10884747501407</c:v>
                </c:pt>
                <c:pt idx="93">
                  <c:v>174.37101575053509</c:v>
                </c:pt>
                <c:pt idx="94">
                  <c:v>176.58788946740333</c:v>
                </c:pt>
                <c:pt idx="95">
                  <c:v>178.75892128895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7.188812636538842</c:v>
                </c:pt>
                <c:pt idx="43">
                  <c:v>39.448364281772548</c:v>
                </c:pt>
                <c:pt idx="44">
                  <c:v>41.773020203922734</c:v>
                </c:pt>
                <c:pt idx="45">
                  <c:v>44.151770583473962</c:v>
                </c:pt>
                <c:pt idx="46">
                  <c:v>46.634892221169821</c:v>
                </c:pt>
                <c:pt idx="47">
                  <c:v>49.197527677219455</c:v>
                </c:pt>
                <c:pt idx="48">
                  <c:v>51.845746858017918</c:v>
                </c:pt>
                <c:pt idx="49">
                  <c:v>54.563853934467701</c:v>
                </c:pt>
                <c:pt idx="50">
                  <c:v>57.348288498024893</c:v>
                </c:pt>
                <c:pt idx="51">
                  <c:v>60.200897727051114</c:v>
                </c:pt>
                <c:pt idx="52">
                  <c:v>63.116643470932019</c:v>
                </c:pt>
                <c:pt idx="53">
                  <c:v>66.112290732112371</c:v>
                </c:pt>
                <c:pt idx="54">
                  <c:v>69.17740689976219</c:v>
                </c:pt>
                <c:pt idx="55">
                  <c:v>72.307786655839948</c:v>
                </c:pt>
                <c:pt idx="56">
                  <c:v>75.499512032428839</c:v>
                </c:pt>
                <c:pt idx="57">
                  <c:v>78.752058160968687</c:v>
                </c:pt>
                <c:pt idx="58">
                  <c:v>82.062033845672673</c:v>
                </c:pt>
                <c:pt idx="59">
                  <c:v>85.424289763961042</c:v>
                </c:pt>
                <c:pt idx="60">
                  <c:v>88.837304870995467</c:v>
                </c:pt>
                <c:pt idx="61">
                  <c:v>92.308450276157913</c:v>
                </c:pt>
                <c:pt idx="62">
                  <c:v>95.829717487870624</c:v>
                </c:pt>
                <c:pt idx="63">
                  <c:v>99.397171946687266</c:v>
                </c:pt>
                <c:pt idx="64">
                  <c:v>103.00773766259729</c:v>
                </c:pt>
                <c:pt idx="65">
                  <c:v>106.65821314007027</c:v>
                </c:pt>
                <c:pt idx="66">
                  <c:v>110.34529702659749</c:v>
                </c:pt>
                <c:pt idx="67">
                  <c:v>114.06550351910934</c:v>
                </c:pt>
                <c:pt idx="68">
                  <c:v>117.81518989759073</c:v>
                </c:pt>
                <c:pt idx="69">
                  <c:v>121.59056977803429</c:v>
                </c:pt>
                <c:pt idx="70">
                  <c:v>125.38773048421388</c:v>
                </c:pt>
                <c:pt idx="71">
                  <c:v>129.20264394234556</c:v>
                </c:pt>
                <c:pt idx="72">
                  <c:v>133.03122567224409</c:v>
                </c:pt>
                <c:pt idx="73">
                  <c:v>136.8693554362749</c:v>
                </c:pt>
                <c:pt idx="74">
                  <c:v>140.7128832533794</c:v>
                </c:pt>
                <c:pt idx="75">
                  <c:v>144.55763619536623</c:v>
                </c:pt>
                <c:pt idx="76">
                  <c:v>148.39944190947838</c:v>
                </c:pt>
                <c:pt idx="77">
                  <c:v>152.23414154597128</c:v>
                </c:pt>
                <c:pt idx="78">
                  <c:v>156.05761117202894</c:v>
                </c:pt>
                <c:pt idx="79">
                  <c:v>159.86578069157184</c:v>
                </c:pt>
                <c:pt idx="80">
                  <c:v>163.65465473068653</c:v>
                </c:pt>
                <c:pt idx="81">
                  <c:v>167.42032791979125</c:v>
                </c:pt>
                <c:pt idx="82">
                  <c:v>171.15899266304942</c:v>
                </c:pt>
                <c:pt idx="83">
                  <c:v>174.86695371131415</c:v>
                </c:pt>
                <c:pt idx="84">
                  <c:v>178.54064054981961</c:v>
                </c:pt>
                <c:pt idx="85">
                  <c:v>182.17661918014008</c:v>
                </c:pt>
                <c:pt idx="86">
                  <c:v>185.77160172923976</c:v>
                </c:pt>
                <c:pt idx="87">
                  <c:v>189.3224579112686</c:v>
                </c:pt>
                <c:pt idx="88">
                  <c:v>192.82622485879267</c:v>
                </c:pt>
                <c:pt idx="89">
                  <c:v>196.28011285862505</c:v>
                </c:pt>
                <c:pt idx="90">
                  <c:v>199.68150892888002</c:v>
                </c:pt>
                <c:pt idx="91">
                  <c:v>203.02798248190922</c:v>
                </c:pt>
                <c:pt idx="92">
                  <c:v>206.31728862357878</c:v>
                </c:pt>
                <c:pt idx="93">
                  <c:v>209.54737062451233</c:v>
                </c:pt>
                <c:pt idx="94">
                  <c:v>212.716360952625</c:v>
                </c:pt>
                <c:pt idx="95">
                  <c:v>215.822582564347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7.220397935465584</c:v>
                </c:pt>
                <c:pt idx="43">
                  <c:v>39.526320497650921</c:v>
                </c:pt>
                <c:pt idx="44">
                  <c:v>41.914704758216892</c:v>
                </c:pt>
                <c:pt idx="45">
                  <c:v>44.377125823402253</c:v>
                </c:pt>
                <c:pt idx="46">
                  <c:v>46.966376811263778</c:v>
                </c:pt>
                <c:pt idx="47">
                  <c:v>49.660210312871023</c:v>
                </c:pt>
                <c:pt idx="48">
                  <c:v>52.467089911295098</c:v>
                </c:pt>
                <c:pt idx="49">
                  <c:v>55.37360873822972</c:v>
                </c:pt>
                <c:pt idx="50">
                  <c:v>58.378349868994555</c:v>
                </c:pt>
                <c:pt idx="51">
                  <c:v>61.48509548265055</c:v>
                </c:pt>
                <c:pt idx="52">
                  <c:v>64.690602467430082</c:v>
                </c:pt>
                <c:pt idx="53">
                  <c:v>68.01322704239044</c:v>
                </c:pt>
                <c:pt idx="54">
                  <c:v>71.444124017317094</c:v>
                </c:pt>
                <c:pt idx="55">
                  <c:v>74.980405311928479</c:v>
                </c:pt>
                <c:pt idx="56">
                  <c:v>78.619252914368388</c:v>
                </c:pt>
                <c:pt idx="57">
                  <c:v>82.361040983339507</c:v>
                </c:pt>
                <c:pt idx="58">
                  <c:v>86.203102384362012</c:v>
                </c:pt>
                <c:pt idx="59">
                  <c:v>90.140817775959263</c:v>
                </c:pt>
                <c:pt idx="60">
                  <c:v>94.172982008898629</c:v>
                </c:pt>
                <c:pt idx="61">
                  <c:v>98.307063200463261</c:v>
                </c:pt>
                <c:pt idx="62">
                  <c:v>102.53499181641725</c:v>
                </c:pt>
                <c:pt idx="63">
                  <c:v>106.85250516751672</c:v>
                </c:pt>
                <c:pt idx="64">
                  <c:v>111.25594230842478</c:v>
                </c:pt>
                <c:pt idx="65">
                  <c:v>115.74129823903444</c:v>
                </c:pt>
                <c:pt idx="66">
                  <c:v>120.30425680949949</c:v>
                </c:pt>
                <c:pt idx="67">
                  <c:v>124.94007747621029</c:v>
                </c:pt>
                <c:pt idx="68">
                  <c:v>129.64363347714718</c:v>
                </c:pt>
                <c:pt idx="69">
                  <c:v>134.40943101230678</c:v>
                </c:pt>
                <c:pt idx="70">
                  <c:v>139.23163626389578</c:v>
                </c:pt>
                <c:pt idx="71">
                  <c:v>144.10409471473582</c:v>
                </c:pt>
                <c:pt idx="72">
                  <c:v>149.02041859280246</c:v>
                </c:pt>
                <c:pt idx="73">
                  <c:v>153.97402335374414</c:v>
                </c:pt>
                <c:pt idx="74">
                  <c:v>158.9581463673631</c:v>
                </c:pt>
                <c:pt idx="75">
                  <c:v>163.96586874817945</c:v>
                </c:pt>
                <c:pt idx="76">
                  <c:v>168.99016075065035</c:v>
                </c:pt>
                <c:pt idx="77">
                  <c:v>174.02391386152655</c:v>
                </c:pt>
                <c:pt idx="78">
                  <c:v>179.05998514682869</c:v>
                </c:pt>
                <c:pt idx="79">
                  <c:v>184.09123880135303</c:v>
                </c:pt>
                <c:pt idx="80">
                  <c:v>189.11059095537658</c:v>
                </c:pt>
                <c:pt idx="81">
                  <c:v>194.11104692166137</c:v>
                </c:pt>
                <c:pt idx="82">
                  <c:v>199.08572839307547</c:v>
                </c:pt>
                <c:pt idx="83">
                  <c:v>204.0279094669861</c:v>
                </c:pt>
                <c:pt idx="84">
                  <c:v>208.93104904496835</c:v>
                </c:pt>
                <c:pt idx="85">
                  <c:v>213.78882174044102</c:v>
                </c:pt>
                <c:pt idx="86">
                  <c:v>218.59514488568709</c:v>
                </c:pt>
                <c:pt idx="87">
                  <c:v>223.34420701544158</c:v>
                </c:pt>
                <c:pt idx="88">
                  <c:v>228.03049287929633</c:v>
                </c:pt>
                <c:pt idx="89">
                  <c:v>232.64880168371539</c:v>
                </c:pt>
                <c:pt idx="90">
                  <c:v>237.19426105353514</c:v>
                </c:pt>
                <c:pt idx="91">
                  <c:v>241.66234234044083</c:v>
                </c:pt>
                <c:pt idx="92">
                  <c:v>246.04887128124551</c:v>
                </c:pt>
                <c:pt idx="93">
                  <c:v>250.35003608242479</c:v>
                </c:pt>
                <c:pt idx="94">
                  <c:v>254.56239212614091</c:v>
                </c:pt>
                <c:pt idx="95">
                  <c:v>258.68286565347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8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7</c:v>
                </c:pt>
                <c:pt idx="32">
                  <c:v>17</c:v>
                </c:pt>
                <c:pt idx="33">
                  <c:v>18</c:v>
                </c:pt>
                <c:pt idx="34">
                  <c:v>18</c:v>
                </c:pt>
                <c:pt idx="35">
                  <c:v>20</c:v>
                </c:pt>
                <c:pt idx="36">
                  <c:v>21</c:v>
                </c:pt>
                <c:pt idx="37">
                  <c:v>23</c:v>
                </c:pt>
                <c:pt idx="38">
                  <c:v>24</c:v>
                </c:pt>
                <c:pt idx="39">
                  <c:v>25</c:v>
                </c:pt>
                <c:pt idx="40">
                  <c:v>28</c:v>
                </c:pt>
                <c:pt idx="41">
                  <c:v>31</c:v>
                </c:pt>
                <c:pt idx="42">
                  <c:v>33</c:v>
                </c:pt>
                <c:pt idx="43">
                  <c:v>33</c:v>
                </c:pt>
                <c:pt idx="44">
                  <c:v>37</c:v>
                </c:pt>
                <c:pt idx="45">
                  <c:v>40</c:v>
                </c:pt>
                <c:pt idx="46">
                  <c:v>42</c:v>
                </c:pt>
                <c:pt idx="47">
                  <c:v>44</c:v>
                </c:pt>
                <c:pt idx="48">
                  <c:v>48</c:v>
                </c:pt>
                <c:pt idx="49">
                  <c:v>53</c:v>
                </c:pt>
                <c:pt idx="50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092249344764859</c:v>
                </c:pt>
                <c:pt idx="43">
                  <c:v>34.235690151456303</c:v>
                </c:pt>
                <c:pt idx="44">
                  <c:v>36.423496802802859</c:v>
                </c:pt>
                <c:pt idx="45">
                  <c:v>38.64313569785007</c:v>
                </c:pt>
                <c:pt idx="46">
                  <c:v>40.939536651505875</c:v>
                </c:pt>
                <c:pt idx="47">
                  <c:v>43.287985248199085</c:v>
                </c:pt>
                <c:pt idx="48">
                  <c:v>45.695641618507921</c:v>
                </c:pt>
                <c:pt idx="49">
                  <c:v>48.143661109035833</c:v>
                </c:pt>
                <c:pt idx="50">
                  <c:v>50.625486105158025</c:v>
                </c:pt>
                <c:pt idx="51">
                  <c:v>53.144283979946835</c:v>
                </c:pt>
                <c:pt idx="52">
                  <c:v>55.695969902535651</c:v>
                </c:pt>
                <c:pt idx="53">
                  <c:v>58.292421191707348</c:v>
                </c:pt>
                <c:pt idx="54">
                  <c:v>60.921875598764458</c:v>
                </c:pt>
                <c:pt idx="55">
                  <c:v>63.58142729913363</c:v>
                </c:pt>
                <c:pt idx="56">
                  <c:v>66.267502807802231</c:v>
                </c:pt>
                <c:pt idx="57">
                  <c:v>68.979591427596461</c:v>
                </c:pt>
                <c:pt idx="58">
                  <c:v>71.713343566090941</c:v>
                </c:pt>
                <c:pt idx="59">
                  <c:v>74.464515928464351</c:v>
                </c:pt>
                <c:pt idx="60">
                  <c:v>77.231659769158426</c:v>
                </c:pt>
                <c:pt idx="61">
                  <c:v>80.020960757467748</c:v>
                </c:pt>
                <c:pt idx="62">
                  <c:v>82.825668257998842</c:v>
                </c:pt>
                <c:pt idx="63">
                  <c:v>85.642623473452957</c:v>
                </c:pt>
                <c:pt idx="64">
                  <c:v>88.469529476604436</c:v>
                </c:pt>
                <c:pt idx="65">
                  <c:v>91.304094812930359</c:v>
                </c:pt>
                <c:pt idx="66">
                  <c:v>94.144047131803205</c:v>
                </c:pt>
                <c:pt idx="67">
                  <c:v>96.987070954589228</c:v>
                </c:pt>
                <c:pt idx="68">
                  <c:v>99.830822472867027</c:v>
                </c:pt>
                <c:pt idx="69">
                  <c:v>102.67293714870594</c:v>
                </c:pt>
                <c:pt idx="70">
                  <c:v>105.51103930069175</c:v>
                </c:pt>
                <c:pt idx="71">
                  <c:v>108.34274765603909</c:v>
                </c:pt>
                <c:pt idx="72">
                  <c:v>111.16571071327903</c:v>
                </c:pt>
                <c:pt idx="73">
                  <c:v>113.97761672589401</c:v>
                </c:pt>
                <c:pt idx="74">
                  <c:v>116.77619300194065</c:v>
                </c:pt>
                <c:pt idx="75">
                  <c:v>119.55920548918296</c:v>
                </c:pt>
                <c:pt idx="76">
                  <c:v>122.32446893899738</c:v>
                </c:pt>
                <c:pt idx="77">
                  <c:v>125.06985005598328</c:v>
                </c:pt>
                <c:pt idx="78">
                  <c:v>127.79327671568248</c:v>
                </c:pt>
                <c:pt idx="79">
                  <c:v>130.49274523520336</c:v>
                </c:pt>
                <c:pt idx="80">
                  <c:v>133.16632820927902</c:v>
                </c:pt>
                <c:pt idx="81">
                  <c:v>135.81217876310049</c:v>
                </c:pt>
                <c:pt idx="82">
                  <c:v>138.42853039667278</c:v>
                </c:pt>
                <c:pt idx="83">
                  <c:v>141.01370108468655</c:v>
                </c:pt>
                <c:pt idx="84">
                  <c:v>143.56609604629836</c:v>
                </c:pt>
                <c:pt idx="85">
                  <c:v>146.08421035424084</c:v>
                </c:pt>
                <c:pt idx="86">
                  <c:v>148.56663048577113</c:v>
                </c:pt>
                <c:pt idx="87">
                  <c:v>151.01203720714352</c:v>
                </c:pt>
                <c:pt idx="88">
                  <c:v>153.41920767962088</c:v>
                </c:pt>
                <c:pt idx="89">
                  <c:v>155.78701539134261</c:v>
                </c:pt>
                <c:pt idx="90">
                  <c:v>158.11442906571378</c:v>
                </c:pt>
                <c:pt idx="91">
                  <c:v>160.40051316143811</c:v>
                </c:pt>
                <c:pt idx="92">
                  <c:v>162.64442723467525</c:v>
                </c:pt>
                <c:pt idx="93">
                  <c:v>164.84542513896548</c:v>
                </c:pt>
                <c:pt idx="94">
                  <c:v>167.00285369589926</c:v>
                </c:pt>
                <c:pt idx="95">
                  <c:v>169.11615452771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121683479479394</c:v>
                </c:pt>
                <c:pt idx="43">
                  <c:v>34.308162222696403</c:v>
                </c:pt>
                <c:pt idx="44">
                  <c:v>36.554850117944</c:v>
                </c:pt>
                <c:pt idx="45">
                  <c:v>38.851413879336043</c:v>
                </c:pt>
                <c:pt idx="46">
                  <c:v>41.244867620344401</c:v>
                </c:pt>
                <c:pt idx="47">
                  <c:v>43.712623148951899</c:v>
                </c:pt>
                <c:pt idx="48">
                  <c:v>46.26373804702591</c:v>
                </c:pt>
                <c:pt idx="49">
                  <c:v>48.881132748512726</c:v>
                </c:pt>
                <c:pt idx="50">
                  <c:v>51.559837063560678</c:v>
                </c:pt>
                <c:pt idx="51">
                  <c:v>54.304375785852045</c:v>
                </c:pt>
                <c:pt idx="52">
                  <c:v>57.111874481423001</c:v>
                </c:pt>
                <c:pt idx="53">
                  <c:v>59.995228287730981</c:v>
                </c:pt>
                <c:pt idx="54">
                  <c:v>62.943670169249785</c:v>
                </c:pt>
                <c:pt idx="55">
                  <c:v>65.955043183865882</c:v>
                </c:pt>
                <c:pt idx="56">
                  <c:v>69.026335168337695</c:v>
                </c:pt>
                <c:pt idx="57">
                  <c:v>72.157433064499614</c:v>
                </c:pt>
                <c:pt idx="58">
                  <c:v>75.344250334732834</c:v>
                </c:pt>
                <c:pt idx="59">
                  <c:v>78.582659176178183</c:v>
                </c:pt>
                <c:pt idx="60">
                  <c:v>81.871172838327553</c:v>
                </c:pt>
                <c:pt idx="61">
                  <c:v>85.215789081103125</c:v>
                </c:pt>
                <c:pt idx="62">
                  <c:v>88.60947832844181</c:v>
                </c:pt>
                <c:pt idx="63">
                  <c:v>92.048625610129363</c:v>
                </c:pt>
                <c:pt idx="64">
                  <c:v>95.530314839906964</c:v>
                </c:pt>
                <c:pt idx="65">
                  <c:v>99.051506310444879</c:v>
                </c:pt>
                <c:pt idx="66">
                  <c:v>102.60905985273048</c:v>
                </c:pt>
                <c:pt idx="67">
                  <c:v>106.19965345175699</c:v>
                </c:pt>
                <c:pt idx="68">
                  <c:v>109.81980778125805</c:v>
                </c:pt>
                <c:pt idx="69">
                  <c:v>113.46589977367452</c:v>
                </c:pt>
                <c:pt idx="70">
                  <c:v>117.13417999639438</c:v>
                </c:pt>
                <c:pt idx="71">
                  <c:v>120.82078429779415</c:v>
                </c:pt>
                <c:pt idx="72">
                  <c:v>124.52178911554827</c:v>
                </c:pt>
                <c:pt idx="73">
                  <c:v>128.23323109112619</c:v>
                </c:pt>
                <c:pt idx="74">
                  <c:v>131.95111264364976</c:v>
                </c:pt>
                <c:pt idx="75">
                  <c:v>135.67140904578963</c:v>
                </c:pt>
                <c:pt idx="76">
                  <c:v>139.39009045192782</c:v>
                </c:pt>
                <c:pt idx="77">
                  <c:v>143.1031344342876</c:v>
                </c:pt>
                <c:pt idx="78">
                  <c:v>146.80654718789145</c:v>
                </c:pt>
                <c:pt idx="79">
                  <c:v>150.49638219374316</c:v>
                </c:pt>
                <c:pt idx="80">
                  <c:v>154.16875994000185</c:v>
                </c:pt>
                <c:pt idx="81">
                  <c:v>157.81988254670506</c:v>
                </c:pt>
                <c:pt idx="82">
                  <c:v>161.4460422987882</c:v>
                </c:pt>
                <c:pt idx="83">
                  <c:v>165.04363593513807</c:v>
                </c:pt>
                <c:pt idx="84">
                  <c:v>168.60917673742293</c:v>
                </c:pt>
                <c:pt idx="85">
                  <c:v>172.13930614962069</c:v>
                </c:pt>
                <c:pt idx="86">
                  <c:v>175.63080349672603</c:v>
                </c:pt>
                <c:pt idx="87">
                  <c:v>179.08059719040455</c:v>
                </c:pt>
                <c:pt idx="88">
                  <c:v>182.48577430047055</c:v>
                </c:pt>
                <c:pt idx="89">
                  <c:v>185.8435866234546</c:v>
                </c:pt>
                <c:pt idx="90">
                  <c:v>189.15145478879515</c:v>
                </c:pt>
                <c:pt idx="91">
                  <c:v>192.40697398356801</c:v>
                </c:pt>
                <c:pt idx="92">
                  <c:v>195.60791749601017</c:v>
                </c:pt>
                <c:pt idx="93">
                  <c:v>198.75223942934525</c:v>
                </c:pt>
                <c:pt idx="94">
                  <c:v>201.83807607254869</c:v>
                </c:pt>
                <c:pt idx="95">
                  <c:v>204.863747362429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151284484454052</c:v>
                </c:pt>
                <c:pt idx="43">
                  <c:v>34.381251654811216</c:v>
                </c:pt>
                <c:pt idx="44">
                  <c:v>36.687764359977372</c:v>
                </c:pt>
                <c:pt idx="45">
                  <c:v>39.062955967145982</c:v>
                </c:pt>
                <c:pt idx="46">
                  <c:v>41.556244618449824</c:v>
                </c:pt>
                <c:pt idx="47">
                  <c:v>44.147538628945782</c:v>
                </c:pt>
                <c:pt idx="48">
                  <c:v>46.848209792274325</c:v>
                </c:pt>
                <c:pt idx="49">
                  <c:v>49.643403915921077</c:v>
                </c:pt>
                <c:pt idx="50">
                  <c:v>52.530235560239888</c:v>
                </c:pt>
                <c:pt idx="51">
                  <c:v>55.515115530521669</c:v>
                </c:pt>
                <c:pt idx="52">
                  <c:v>58.596932152508771</c:v>
                </c:pt>
                <c:pt idx="53">
                  <c:v>61.790164307824483</c:v>
                </c:pt>
                <c:pt idx="54">
                  <c:v>65.085610730395445</c:v>
                </c:pt>
                <c:pt idx="55">
                  <c:v>68.482428352790834</c:v>
                </c:pt>
                <c:pt idx="56">
                  <c:v>71.978719992666143</c:v>
                </c:pt>
                <c:pt idx="57">
                  <c:v>75.57530068431339</c:v>
                </c:pt>
                <c:pt idx="58">
                  <c:v>79.268846816183384</c:v>
                </c:pt>
                <c:pt idx="59">
                  <c:v>83.055806017104445</c:v>
                </c:pt>
                <c:pt idx="60">
                  <c:v>86.935061491264349</c:v>
                </c:pt>
                <c:pt idx="61">
                  <c:v>90.91277061055176</c:v>
                </c:pt>
                <c:pt idx="62">
                  <c:v>94.981903210248049</c:v>
                </c:pt>
                <c:pt idx="63">
                  <c:v>99.138590906368364</c:v>
                </c:pt>
                <c:pt idx="64">
                  <c:v>103.37941934096411</c:v>
                </c:pt>
                <c:pt idx="65">
                  <c:v>107.70063984089052</c:v>
                </c:pt>
                <c:pt idx="66">
                  <c:v>112.09819844338493</c:v>
                </c:pt>
                <c:pt idx="67">
                  <c:v>116.56762662552988</c:v>
                </c:pt>
                <c:pt idx="68">
                  <c:v>121.10407487049592</c:v>
                </c:pt>
                <c:pt idx="69">
                  <c:v>125.70233171629953</c:v>
                </c:pt>
                <c:pt idx="70">
                  <c:v>130.35685013561681</c:v>
                </c:pt>
                <c:pt idx="71">
                  <c:v>135.06176727407697</c:v>
                </c:pt>
                <c:pt idx="72">
                  <c:v>139.8109860678311</c:v>
                </c:pt>
                <c:pt idx="73">
                  <c:v>144.59820958212731</c:v>
                </c:pt>
                <c:pt idx="74">
                  <c:v>149.41695831329412</c:v>
                </c:pt>
                <c:pt idx="75">
                  <c:v>154.26059151267111</c:v>
                </c:pt>
                <c:pt idx="76">
                  <c:v>159.12234972230777</c:v>
                </c:pt>
                <c:pt idx="77">
                  <c:v>163.99538552349216</c:v>
                </c:pt>
                <c:pt idx="78">
                  <c:v>168.8728068019646</c:v>
                </c:pt>
                <c:pt idx="79">
                  <c:v>173.74771719765857</c:v>
                </c:pt>
                <c:pt idx="80">
                  <c:v>178.61325861770766</c:v>
                </c:pt>
                <c:pt idx="81">
                  <c:v>183.46264697170182</c:v>
                </c:pt>
                <c:pt idx="82">
                  <c:v>188.28919980384347</c:v>
                </c:pt>
                <c:pt idx="83">
                  <c:v>193.08637141644201</c:v>
                </c:pt>
                <c:pt idx="84">
                  <c:v>197.84778446265898</c:v>
                </c:pt>
                <c:pt idx="85">
                  <c:v>202.56726031422409</c:v>
                </c:pt>
                <c:pt idx="86">
                  <c:v>207.23884599115001</c:v>
                </c:pt>
                <c:pt idx="87">
                  <c:v>211.85684214740388</c:v>
                </c:pt>
                <c:pt idx="88">
                  <c:v>216.41582767834944</c:v>
                </c:pt>
                <c:pt idx="89">
                  <c:v>220.91067843025232</c:v>
                </c:pt>
                <c:pt idx="90">
                  <c:v>225.3365819696246</c:v>
                </c:pt>
                <c:pt idx="91">
                  <c:v>229.68905314610538</c:v>
                </c:pt>
                <c:pt idx="92">
                  <c:v>233.96394531633015</c:v>
                </c:pt>
                <c:pt idx="93">
                  <c:v>238.15745904822938</c:v>
                </c:pt>
                <c:pt idx="94">
                  <c:v>242.2661476246077</c:v>
                </c:pt>
                <c:pt idx="95">
                  <c:v>246.2869213356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20</c:v>
                </c:pt>
                <c:pt idx="4">
                  <c:v>24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  <c:pt idx="8">
                  <c:v>32</c:v>
                </c:pt>
                <c:pt idx="9">
                  <c:v>34</c:v>
                </c:pt>
                <c:pt idx="10">
                  <c:v>38</c:v>
                </c:pt>
                <c:pt idx="11">
                  <c:v>42</c:v>
                </c:pt>
                <c:pt idx="12">
                  <c:v>42</c:v>
                </c:pt>
                <c:pt idx="13">
                  <c:v>43</c:v>
                </c:pt>
                <c:pt idx="14">
                  <c:v>45</c:v>
                </c:pt>
                <c:pt idx="15">
                  <c:v>46</c:v>
                </c:pt>
                <c:pt idx="16">
                  <c:v>50</c:v>
                </c:pt>
                <c:pt idx="17">
                  <c:v>56</c:v>
                </c:pt>
                <c:pt idx="18">
                  <c:v>62</c:v>
                </c:pt>
                <c:pt idx="19">
                  <c:v>63</c:v>
                </c:pt>
                <c:pt idx="20">
                  <c:v>66</c:v>
                </c:pt>
                <c:pt idx="21">
                  <c:v>68</c:v>
                </c:pt>
                <c:pt idx="22">
                  <c:v>73</c:v>
                </c:pt>
                <c:pt idx="23">
                  <c:v>76</c:v>
                </c:pt>
                <c:pt idx="24">
                  <c:v>83</c:v>
                </c:pt>
                <c:pt idx="25">
                  <c:v>88</c:v>
                </c:pt>
                <c:pt idx="26">
                  <c:v>94</c:v>
                </c:pt>
                <c:pt idx="27">
                  <c:v>100</c:v>
                </c:pt>
                <c:pt idx="28">
                  <c:v>113</c:v>
                </c:pt>
                <c:pt idx="29">
                  <c:v>122</c:v>
                </c:pt>
                <c:pt idx="30">
                  <c:v>129</c:v>
                </c:pt>
                <c:pt idx="31">
                  <c:v>137</c:v>
                </c:pt>
                <c:pt idx="32">
                  <c:v>151</c:v>
                </c:pt>
                <c:pt idx="33">
                  <c:v>161</c:v>
                </c:pt>
                <c:pt idx="34">
                  <c:v>171</c:v>
                </c:pt>
                <c:pt idx="35">
                  <c:v>179</c:v>
                </c:pt>
                <c:pt idx="36">
                  <c:v>190</c:v>
                </c:pt>
                <c:pt idx="37">
                  <c:v>200</c:v>
                </c:pt>
                <c:pt idx="38">
                  <c:v>210</c:v>
                </c:pt>
                <c:pt idx="39">
                  <c:v>225</c:v>
                </c:pt>
                <c:pt idx="40">
                  <c:v>240</c:v>
                </c:pt>
                <c:pt idx="41">
                  <c:v>256</c:v>
                </c:pt>
                <c:pt idx="42">
                  <c:v>269</c:v>
                </c:pt>
                <c:pt idx="43">
                  <c:v>287</c:v>
                </c:pt>
                <c:pt idx="44">
                  <c:v>299</c:v>
                </c:pt>
                <c:pt idx="45">
                  <c:v>313</c:v>
                </c:pt>
                <c:pt idx="46">
                  <c:v>325</c:v>
                </c:pt>
                <c:pt idx="47">
                  <c:v>340</c:v>
                </c:pt>
                <c:pt idx="48">
                  <c:v>357</c:v>
                </c:pt>
                <c:pt idx="49">
                  <c:v>373</c:v>
                </c:pt>
                <c:pt idx="50">
                  <c:v>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0.03231664534115</c:v>
                </c:pt>
                <c:pt idx="43">
                  <c:v>284.38234699113326</c:v>
                </c:pt>
                <c:pt idx="44">
                  <c:v>299.01129007995593</c:v>
                </c:pt>
                <c:pt idx="45">
                  <c:v>313.83794560810918</c:v>
                </c:pt>
                <c:pt idx="46">
                  <c:v>329.15057681790358</c:v>
                </c:pt>
                <c:pt idx="47">
                  <c:v>344.79517634025649</c:v>
                </c:pt>
                <c:pt idx="48">
                  <c:v>360.84388076382237</c:v>
                </c:pt>
                <c:pt idx="49">
                  <c:v>377.1560430776982</c:v>
                </c:pt>
                <c:pt idx="50">
                  <c:v>393.67601611465972</c:v>
                </c:pt>
                <c:pt idx="51">
                  <c:v>410.44571424567363</c:v>
                </c:pt>
                <c:pt idx="52">
                  <c:v>427.45283359664307</c:v>
                </c:pt>
                <c:pt idx="53">
                  <c:v>444.7510815280848</c:v>
                </c:pt>
                <c:pt idx="54">
                  <c:v>462.25640187495759</c:v>
                </c:pt>
                <c:pt idx="55">
                  <c:v>479.96364711294382</c:v>
                </c:pt>
                <c:pt idx="56">
                  <c:v>497.85448795926413</c:v>
                </c:pt>
                <c:pt idx="57">
                  <c:v>515.92811530836298</c:v>
                </c:pt>
                <c:pt idx="58">
                  <c:v>534.1488716862691</c:v>
                </c:pt>
                <c:pt idx="59">
                  <c:v>552.49449141277137</c:v>
                </c:pt>
                <c:pt idx="60">
                  <c:v>570.95477583270053</c:v>
                </c:pt>
                <c:pt idx="61">
                  <c:v>589.56206387857105</c:v>
                </c:pt>
                <c:pt idx="62">
                  <c:v>608.27637511329272</c:v>
                </c:pt>
                <c:pt idx="63">
                  <c:v>627.07770782194598</c:v>
                </c:pt>
                <c:pt idx="64">
                  <c:v>645.95080729793995</c:v>
                </c:pt>
                <c:pt idx="65">
                  <c:v>664.88044411801934</c:v>
                </c:pt>
                <c:pt idx="66">
                  <c:v>683.85149905512219</c:v>
                </c:pt>
                <c:pt idx="67">
                  <c:v>702.84854994771524</c:v>
                </c:pt>
                <c:pt idx="68">
                  <c:v>721.85596065280492</c:v>
                </c:pt>
                <c:pt idx="69">
                  <c:v>740.85793715553154</c:v>
                </c:pt>
                <c:pt idx="70">
                  <c:v>759.83859591803935</c:v>
                </c:pt>
                <c:pt idx="71">
                  <c:v>778.78200759314188</c:v>
                </c:pt>
                <c:pt idx="72">
                  <c:v>797.6724254816296</c:v>
                </c:pt>
                <c:pt idx="73">
                  <c:v>816.49435105815326</c:v>
                </c:pt>
                <c:pt idx="74">
                  <c:v>835.23252860685682</c:v>
                </c:pt>
                <c:pt idx="75">
                  <c:v>853.87194612077235</c:v>
                </c:pt>
                <c:pt idx="76">
                  <c:v>872.39789997611399</c:v>
                </c:pt>
                <c:pt idx="77">
                  <c:v>890.79601666901453</c:v>
                </c:pt>
                <c:pt idx="78">
                  <c:v>909.05231759633989</c:v>
                </c:pt>
                <c:pt idx="79">
                  <c:v>927.15327000769707</c:v>
                </c:pt>
                <c:pt idx="80">
                  <c:v>945.08583704601301</c:v>
                </c:pt>
                <c:pt idx="81">
                  <c:v>962.83750528995256</c:v>
                </c:pt>
                <c:pt idx="82">
                  <c:v>980.3962893142226</c:v>
                </c:pt>
                <c:pt idx="83">
                  <c:v>997.75076008108624</c:v>
                </c:pt>
                <c:pt idx="84">
                  <c:v>1014.8900636889364</c:v>
                </c:pt>
                <c:pt idx="85">
                  <c:v>1031.8039395790727</c:v>
                </c:pt>
                <c:pt idx="86">
                  <c:v>1048.4827326158406</c:v>
                </c:pt>
                <c:pt idx="87">
                  <c:v>1064.9174124052959</c:v>
                </c:pt>
                <c:pt idx="88">
                  <c:v>1081.0995869398746</c:v>
                </c:pt>
                <c:pt idx="89">
                  <c:v>1097.0215041740676</c:v>
                </c:pt>
                <c:pt idx="90">
                  <c:v>1112.6760473895733</c:v>
                </c:pt>
                <c:pt idx="91">
                  <c:v>1128.0567389418761</c:v>
                </c:pt>
                <c:pt idx="92">
                  <c:v>1143.1577369298757</c:v>
                </c:pt>
                <c:pt idx="93">
                  <c:v>1157.9738305963656</c:v>
                </c:pt>
                <c:pt idx="94">
                  <c:v>1172.5004324421034</c:v>
                </c:pt>
                <c:pt idx="95">
                  <c:v>1186.7335876655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0.22192606680824</c:v>
                </c:pt>
                <c:pt idx="43">
                  <c:v>284.84944056146821</c:v>
                </c:pt>
                <c:pt idx="44">
                  <c:v>299.85847191091653</c:v>
                </c:pt>
                <c:pt idx="45">
                  <c:v>315.18233541356074</c:v>
                </c:pt>
                <c:pt idx="46">
                  <c:v>331.12306857494383</c:v>
                </c:pt>
                <c:pt idx="47">
                  <c:v>347.54073551876957</c:v>
                </c:pt>
                <c:pt idx="48">
                  <c:v>364.52022087381704</c:v>
                </c:pt>
                <c:pt idx="49">
                  <c:v>381.93283418429667</c:v>
                </c:pt>
                <c:pt idx="50">
                  <c:v>399.73369178841835</c:v>
                </c:pt>
                <c:pt idx="51">
                  <c:v>417.97394688850193</c:v>
                </c:pt>
                <c:pt idx="52">
                  <c:v>436.64963291263683</c:v>
                </c:pt>
                <c:pt idx="53">
                  <c:v>455.82163225626243</c:v>
                </c:pt>
                <c:pt idx="54">
                  <c:v>475.41278856038031</c:v>
                </c:pt>
                <c:pt idx="55">
                  <c:v>495.42326083316652</c:v>
                </c:pt>
                <c:pt idx="56">
                  <c:v>515.83884124287124</c:v>
                </c:pt>
                <c:pt idx="57">
                  <c:v>536.66178551317876</c:v>
                </c:pt>
                <c:pt idx="58">
                  <c:v>557.85861358238355</c:v>
                </c:pt>
                <c:pt idx="59">
                  <c:v>579.40823297215195</c:v>
                </c:pt>
                <c:pt idx="60">
                  <c:v>601.30058370711595</c:v>
                </c:pt>
                <c:pt idx="61">
                  <c:v>623.56713238986526</c:v>
                </c:pt>
                <c:pt idx="62">
                  <c:v>646.1663433224312</c:v>
                </c:pt>
                <c:pt idx="63">
                  <c:v>669.07549975747611</c:v>
                </c:pt>
                <c:pt idx="64">
                  <c:v>692.27555409859303</c:v>
                </c:pt>
                <c:pt idx="65">
                  <c:v>715.74661513862986</c:v>
                </c:pt>
                <c:pt idx="66">
                  <c:v>739.46809033443901</c:v>
                </c:pt>
                <c:pt idx="67">
                  <c:v>763.41814495946824</c:v>
                </c:pt>
                <c:pt idx="68">
                  <c:v>787.57385015607747</c:v>
                </c:pt>
                <c:pt idx="69">
                  <c:v>811.91127940644878</c:v>
                </c:pt>
                <c:pt idx="70">
                  <c:v>836.4056290992396</c:v>
                </c:pt>
                <c:pt idx="71">
                  <c:v>861.03130486129317</c:v>
                </c:pt>
                <c:pt idx="72">
                  <c:v>885.76227802784592</c:v>
                </c:pt>
                <c:pt idx="73">
                  <c:v>910.57221406599547</c:v>
                </c:pt>
                <c:pt idx="74">
                  <c:v>935.43450798954484</c:v>
                </c:pt>
                <c:pt idx="75">
                  <c:v>960.32233550637682</c:v>
                </c:pt>
                <c:pt idx="76">
                  <c:v>985.20879478944789</c:v>
                </c:pt>
                <c:pt idx="77">
                  <c:v>1010.0669905464435</c:v>
                </c:pt>
                <c:pt idx="78">
                  <c:v>1034.8701795695838</c:v>
                </c:pt>
                <c:pt idx="79">
                  <c:v>1059.5918983020258</c:v>
                </c:pt>
                <c:pt idx="80">
                  <c:v>1084.2060910431346</c:v>
                </c:pt>
                <c:pt idx="81">
                  <c:v>1108.6872065425055</c:v>
                </c:pt>
                <c:pt idx="82">
                  <c:v>1133.0102628278419</c:v>
                </c:pt>
                <c:pt idx="83">
                  <c:v>1157.1509442280862</c:v>
                </c:pt>
                <c:pt idx="84">
                  <c:v>1181.0856830237663</c:v>
                </c:pt>
                <c:pt idx="85">
                  <c:v>1204.7917388490609</c:v>
                </c:pt>
                <c:pt idx="86">
                  <c:v>1228.2472669169952</c:v>
                </c:pt>
                <c:pt idx="87">
                  <c:v>1251.4313938588207</c:v>
                </c:pt>
                <c:pt idx="88">
                  <c:v>1274.3242822009506</c:v>
                </c:pt>
                <c:pt idx="89">
                  <c:v>1296.9071749170187</c:v>
                </c:pt>
                <c:pt idx="90">
                  <c:v>1319.162427817357</c:v>
                </c:pt>
                <c:pt idx="91">
                  <c:v>1341.073549715858</c:v>
                </c:pt>
                <c:pt idx="92">
                  <c:v>1362.625228813341</c:v>
                </c:pt>
                <c:pt idx="93">
                  <c:v>1383.8033533132698</c:v>
                </c:pt>
                <c:pt idx="94">
                  <c:v>1404.5950234271481</c:v>
                </c:pt>
                <c:pt idx="95">
                  <c:v>1424.9885627778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0.41261121141218</c:v>
                </c:pt>
                <c:pt idx="43">
                  <c:v>285.32051320774394</c:v>
                </c:pt>
                <c:pt idx="44">
                  <c:v>300.71571528687321</c:v>
                </c:pt>
                <c:pt idx="45">
                  <c:v>316.54777008214126</c:v>
                </c:pt>
                <c:pt idx="46">
                  <c:v>333.13456220141427</c:v>
                </c:pt>
                <c:pt idx="47">
                  <c:v>350.35263524756306</c:v>
                </c:pt>
                <c:pt idx="48">
                  <c:v>368.30234022338044</c:v>
                </c:pt>
                <c:pt idx="49">
                  <c:v>386.86995401174499</c:v>
                </c:pt>
                <c:pt idx="50">
                  <c:v>406.02462065742361</c:v>
                </c:pt>
                <c:pt idx="51">
                  <c:v>425.83021441435187</c:v>
                </c:pt>
                <c:pt idx="52">
                  <c:v>446.29475815376668</c:v>
                </c:pt>
                <c:pt idx="53">
                  <c:v>467.49006506037716</c:v>
                </c:pt>
                <c:pt idx="54">
                  <c:v>489.34968021243071</c:v>
                </c:pt>
                <c:pt idx="55">
                  <c:v>511.88285174026339</c:v>
                </c:pt>
                <c:pt idx="56">
                  <c:v>535.08321700780573</c:v>
                </c:pt>
                <c:pt idx="57">
                  <c:v>558.95968419183066</c:v>
                </c:pt>
                <c:pt idx="58">
                  <c:v>583.48435231497456</c:v>
                </c:pt>
                <c:pt idx="59">
                  <c:v>608.6404560082176</c:v>
                </c:pt>
                <c:pt idx="60">
                  <c:v>634.42090062199554</c:v>
                </c:pt>
                <c:pt idx="61">
                  <c:v>660.85872208007049</c:v>
                </c:pt>
                <c:pt idx="62">
                  <c:v>687.91282687104012</c:v>
                </c:pt>
                <c:pt idx="63">
                  <c:v>715.55929194524731</c:v>
                </c:pt>
                <c:pt idx="64">
                  <c:v>743.77625324378027</c:v>
                </c:pt>
                <c:pt idx="65">
                  <c:v>772.53959956236758</c:v>
                </c:pt>
                <c:pt idx="66">
                  <c:v>801.82314525495167</c:v>
                </c:pt>
                <c:pt idx="67">
                  <c:v>831.59790158945179</c:v>
                </c:pt>
                <c:pt idx="68">
                  <c:v>861.83227556222664</c:v>
                </c:pt>
                <c:pt idx="69">
                  <c:v>892.4922010615303</c:v>
                </c:pt>
                <c:pt idx="70">
                  <c:v>923.54131712897322</c:v>
                </c:pt>
                <c:pt idx="71">
                  <c:v>954.94110797765507</c:v>
                </c:pt>
                <c:pt idx="72">
                  <c:v>986.65142613382511</c:v>
                </c:pt>
                <c:pt idx="73">
                  <c:v>1018.6307148065763</c:v>
                </c:pt>
                <c:pt idx="74">
                  <c:v>1050.8361176861072</c:v>
                </c:pt>
                <c:pt idx="75">
                  <c:v>1083.2236231213747</c:v>
                </c:pt>
                <c:pt idx="76">
                  <c:v>1115.748338068372</c:v>
                </c:pt>
                <c:pt idx="77">
                  <c:v>1148.3646914631977</c:v>
                </c:pt>
                <c:pt idx="78">
                  <c:v>1181.0267263541161</c:v>
                </c:pt>
                <c:pt idx="79">
                  <c:v>1213.6883723706489</c:v>
                </c:pt>
                <c:pt idx="80">
                  <c:v>1246.3037236913281</c:v>
                </c:pt>
                <c:pt idx="81">
                  <c:v>1278.827275768595</c:v>
                </c:pt>
                <c:pt idx="82">
                  <c:v>1311.2141202123732</c:v>
                </c:pt>
                <c:pt idx="83">
                  <c:v>1343.4201817806377</c:v>
                </c:pt>
                <c:pt idx="84">
                  <c:v>1375.4024315716756</c:v>
                </c:pt>
                <c:pt idx="85">
                  <c:v>1407.1190936900066</c:v>
                </c:pt>
                <c:pt idx="86">
                  <c:v>1438.5298314789372</c:v>
                </c:pt>
                <c:pt idx="87">
                  <c:v>1469.5959379730325</c:v>
                </c:pt>
                <c:pt idx="88">
                  <c:v>1500.2805036030195</c:v>
                </c:pt>
                <c:pt idx="89">
                  <c:v>1530.5485494289217</c:v>
                </c:pt>
                <c:pt idx="90">
                  <c:v>1560.3671355539896</c:v>
                </c:pt>
                <c:pt idx="91">
                  <c:v>1589.7054709576644</c:v>
                </c:pt>
                <c:pt idx="92">
                  <c:v>1618.5349955273141</c:v>
                </c:pt>
                <c:pt idx="93">
                  <c:v>1646.8294450123803</c:v>
                </c:pt>
                <c:pt idx="94">
                  <c:v>1674.5648950885625</c:v>
                </c:pt>
                <c:pt idx="95">
                  <c:v>1701.7197956314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3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5</c:v>
                </c:pt>
                <c:pt idx="17">
                  <c:v>16</c:v>
                </c:pt>
                <c:pt idx="18">
                  <c:v>18</c:v>
                </c:pt>
                <c:pt idx="19">
                  <c:v>21</c:v>
                </c:pt>
                <c:pt idx="20">
                  <c:v>24</c:v>
                </c:pt>
                <c:pt idx="21">
                  <c:v>26</c:v>
                </c:pt>
                <c:pt idx="22">
                  <c:v>27</c:v>
                </c:pt>
                <c:pt idx="23">
                  <c:v>29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3</c:v>
                </c:pt>
                <c:pt idx="28">
                  <c:v>34</c:v>
                </c:pt>
                <c:pt idx="29">
                  <c:v>35</c:v>
                </c:pt>
                <c:pt idx="30">
                  <c:v>38</c:v>
                </c:pt>
                <c:pt idx="31">
                  <c:v>41</c:v>
                </c:pt>
                <c:pt idx="32">
                  <c:v>46</c:v>
                </c:pt>
                <c:pt idx="33">
                  <c:v>48</c:v>
                </c:pt>
                <c:pt idx="34">
                  <c:v>52</c:v>
                </c:pt>
                <c:pt idx="35">
                  <c:v>58</c:v>
                </c:pt>
                <c:pt idx="36">
                  <c:v>64</c:v>
                </c:pt>
                <c:pt idx="37">
                  <c:v>68</c:v>
                </c:pt>
                <c:pt idx="38">
                  <c:v>77</c:v>
                </c:pt>
                <c:pt idx="39">
                  <c:v>79</c:v>
                </c:pt>
                <c:pt idx="40">
                  <c:v>85</c:v>
                </c:pt>
                <c:pt idx="41">
                  <c:v>90</c:v>
                </c:pt>
                <c:pt idx="42">
                  <c:v>96</c:v>
                </c:pt>
                <c:pt idx="43">
                  <c:v>99</c:v>
                </c:pt>
                <c:pt idx="44">
                  <c:v>103</c:v>
                </c:pt>
                <c:pt idx="45">
                  <c:v>109</c:v>
                </c:pt>
                <c:pt idx="46">
                  <c:v>114</c:v>
                </c:pt>
                <c:pt idx="47">
                  <c:v>123</c:v>
                </c:pt>
                <c:pt idx="48">
                  <c:v>133</c:v>
                </c:pt>
                <c:pt idx="49">
                  <c:v>139</c:v>
                </c:pt>
                <c:pt idx="50">
                  <c:v>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740258777180429</c:v>
                </c:pt>
                <c:pt idx="43">
                  <c:v>103.62061936578507</c:v>
                </c:pt>
                <c:pt idx="44">
                  <c:v>110.62585089036014</c:v>
                </c:pt>
                <c:pt idx="45">
                  <c:v>117.71834625870314</c:v>
                </c:pt>
                <c:pt idx="46">
                  <c:v>125.03018650524447</c:v>
                </c:pt>
                <c:pt idx="47">
                  <c:v>132.49313190254995</c:v>
                </c:pt>
                <c:pt idx="48">
                  <c:v>140.15360693969893</c:v>
                </c:pt>
                <c:pt idx="49">
                  <c:v>147.9370910295354</c:v>
                </c:pt>
                <c:pt idx="50">
                  <c:v>155.8111583486747</c:v>
                </c:pt>
                <c:pt idx="51">
                  <c:v>163.80603512572191</c:v>
                </c:pt>
                <c:pt idx="52">
                  <c:v>171.92318040463675</c:v>
                </c:pt>
                <c:pt idx="53">
                  <c:v>180.17572061831251</c:v>
                </c:pt>
                <c:pt idx="54">
                  <c:v>188.52075651955724</c:v>
                </c:pt>
                <c:pt idx="55">
                  <c:v>196.96281792313613</c:v>
                </c:pt>
                <c:pt idx="56">
                  <c:v>205.49585312510928</c:v>
                </c:pt>
                <c:pt idx="57">
                  <c:v>214.1207508068579</c:v>
                </c:pt>
                <c:pt idx="58">
                  <c:v>222.81721662402154</c:v>
                </c:pt>
                <c:pt idx="59">
                  <c:v>231.57757949221019</c:v>
                </c:pt>
                <c:pt idx="60">
                  <c:v>240.39670516714773</c:v>
                </c:pt>
                <c:pt idx="61">
                  <c:v>249.28566102050121</c:v>
                </c:pt>
                <c:pt idx="62">
                  <c:v>258.22782818346923</c:v>
                </c:pt>
                <c:pt idx="63">
                  <c:v>267.21417704484764</c:v>
                </c:pt>
                <c:pt idx="64">
                  <c:v>276.23745359383332</c:v>
                </c:pt>
                <c:pt idx="65">
                  <c:v>285.29041038766837</c:v>
                </c:pt>
                <c:pt idx="66">
                  <c:v>294.36584416043706</c:v>
                </c:pt>
                <c:pt idx="67">
                  <c:v>303.45639945416826</c:v>
                </c:pt>
                <c:pt idx="68">
                  <c:v>312.55460631927269</c:v>
                </c:pt>
                <c:pt idx="69">
                  <c:v>321.65290977385416</c:v>
                </c:pt>
                <c:pt idx="70">
                  <c:v>330.74370461529475</c:v>
                </c:pt>
                <c:pt idx="71">
                  <c:v>339.81935957996149</c:v>
                </c:pt>
                <c:pt idx="72">
                  <c:v>348.87232282549434</c:v>
                </c:pt>
                <c:pt idx="73">
                  <c:v>357.89515270597957</c:v>
                </c:pt>
                <c:pt idx="74">
                  <c:v>366.88051486953043</c:v>
                </c:pt>
                <c:pt idx="75">
                  <c:v>375.82118448801361</c:v>
                </c:pt>
                <c:pt idx="76">
                  <c:v>384.71007561703658</c:v>
                </c:pt>
                <c:pt idx="77">
                  <c:v>393.5402519361931</c:v>
                </c:pt>
                <c:pt idx="78">
                  <c:v>402.30495931070953</c:v>
                </c:pt>
                <c:pt idx="79">
                  <c:v>410.99765133461636</c:v>
                </c:pt>
                <c:pt idx="80">
                  <c:v>419.61201213947299</c:v>
                </c:pt>
                <c:pt idx="81">
                  <c:v>428.14196914528912</c:v>
                </c:pt>
                <c:pt idx="82">
                  <c:v>436.58169798734605</c:v>
                </c:pt>
                <c:pt idx="83">
                  <c:v>444.9256365904609</c:v>
                </c:pt>
                <c:pt idx="84">
                  <c:v>453.16849425871652</c:v>
                </c:pt>
                <c:pt idx="85">
                  <c:v>461.30526076655434</c:v>
                </c:pt>
                <c:pt idx="86">
                  <c:v>469.33121298074695</c:v>
                </c:pt>
                <c:pt idx="87">
                  <c:v>477.24192412673665</c:v>
                </c:pt>
                <c:pt idx="88">
                  <c:v>485.03327010835261</c:v>
                </c:pt>
                <c:pt idx="89">
                  <c:v>492.70143125712758</c:v>
                </c:pt>
                <c:pt idx="90">
                  <c:v>500.2428914176723</c:v>
                </c:pt>
                <c:pt idx="91">
                  <c:v>507.6544399391658</c:v>
                </c:pt>
                <c:pt idx="92">
                  <c:v>514.93317053829333</c:v>
                </c:pt>
                <c:pt idx="93">
                  <c:v>522.07647946414068</c:v>
                </c:pt>
                <c:pt idx="94">
                  <c:v>529.08206221301862</c:v>
                </c:pt>
                <c:pt idx="95">
                  <c:v>535.94791667063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6.827527109962105</c:v>
                </c:pt>
                <c:pt idx="43">
                  <c:v>103.83572340469101</c:v>
                </c:pt>
                <c:pt idx="44">
                  <c:v>111.01629122922525</c:v>
                </c:pt>
                <c:pt idx="45">
                  <c:v>118.33847797885581</c:v>
                </c:pt>
                <c:pt idx="46">
                  <c:v>125.94088103155033</c:v>
                </c:pt>
                <c:pt idx="47">
                  <c:v>133.76192760918519</c:v>
                </c:pt>
                <c:pt idx="48">
                  <c:v>141.8541764104103</c:v>
                </c:pt>
                <c:pt idx="49">
                  <c:v>150.14890787502341</c:v>
                </c:pt>
                <c:pt idx="50">
                  <c:v>158.61892340639506</c:v>
                </c:pt>
                <c:pt idx="51">
                  <c:v>167.29895285025148</c:v>
                </c:pt>
                <c:pt idx="52">
                  <c:v>176.19456710223136</c:v>
                </c:pt>
                <c:pt idx="53">
                  <c:v>185.32250930714451</c:v>
                </c:pt>
                <c:pt idx="54">
                  <c:v>194.64330436819432</c:v>
                </c:pt>
                <c:pt idx="55">
                  <c:v>204.16416965984351</c:v>
                </c:pt>
                <c:pt idx="56">
                  <c:v>213.88120736916358</c:v>
                </c:pt>
                <c:pt idx="57">
                  <c:v>223.79697263323357</c:v>
                </c:pt>
                <c:pt idx="58">
                  <c:v>233.89241873131883</c:v>
                </c:pt>
                <c:pt idx="59">
                  <c:v>244.16063274522187</c:v>
                </c:pt>
                <c:pt idx="60">
                  <c:v>254.59673921172987</c:v>
                </c:pt>
                <c:pt idx="61">
                  <c:v>265.2115759082572</c:v>
                </c:pt>
                <c:pt idx="62">
                  <c:v>275.98793098268715</c:v>
                </c:pt>
                <c:pt idx="63">
                  <c:v>286.91563886447761</c:v>
                </c:pt>
                <c:pt idx="64">
                  <c:v>297.98579929795358</c:v>
                </c:pt>
                <c:pt idx="65">
                  <c:v>309.18909972521897</c:v>
                </c:pt>
                <c:pt idx="66">
                  <c:v>320.5158772538785</c:v>
                </c:pt>
                <c:pt idx="67">
                  <c:v>331.95586129968189</c:v>
                </c:pt>
                <c:pt idx="68">
                  <c:v>343.49823664656344</c:v>
                </c:pt>
                <c:pt idx="69">
                  <c:v>355.13169245111743</c:v>
                </c:pt>
                <c:pt idx="70">
                  <c:v>366.84448212188477</c:v>
                </c:pt>
                <c:pt idx="71">
                  <c:v>378.62446880324933</c:v>
                </c:pt>
                <c:pt idx="72">
                  <c:v>390.45928953550327</c:v>
                </c:pt>
                <c:pt idx="73">
                  <c:v>402.33641541463953</c:v>
                </c:pt>
                <c:pt idx="74">
                  <c:v>414.2431676425723</c:v>
                </c:pt>
                <c:pt idx="75">
                  <c:v>426.1667438972172</c:v>
                </c:pt>
                <c:pt idx="76">
                  <c:v>438.09428351670738</c:v>
                </c:pt>
                <c:pt idx="77">
                  <c:v>450.01290787747098</c:v>
                </c:pt>
                <c:pt idx="78">
                  <c:v>461.90979193437676</c:v>
                </c:pt>
                <c:pt idx="79">
                  <c:v>473.77222666564927</c:v>
                </c:pt>
                <c:pt idx="80">
                  <c:v>485.5876786719777</c:v>
                </c:pt>
                <c:pt idx="81">
                  <c:v>497.34383584621963</c:v>
                </c:pt>
                <c:pt idx="82">
                  <c:v>509.02864222282562</c:v>
                </c:pt>
                <c:pt idx="83">
                  <c:v>520.63034516239907</c:v>
                </c:pt>
                <c:pt idx="84">
                  <c:v>532.13753485119787</c:v>
                </c:pt>
                <c:pt idx="85">
                  <c:v>543.5391831597658</c:v>
                </c:pt>
                <c:pt idx="86">
                  <c:v>554.8246779002352</c:v>
                </c:pt>
                <c:pt idx="87">
                  <c:v>565.98385958944289</c:v>
                </c:pt>
                <c:pt idx="88">
                  <c:v>577.00705255778121</c:v>
                </c:pt>
                <c:pt idx="89">
                  <c:v>587.88508822973563</c:v>
                </c:pt>
                <c:pt idx="90">
                  <c:v>598.60932304990013</c:v>
                </c:pt>
                <c:pt idx="91">
                  <c:v>609.1716586419609</c:v>
                </c:pt>
                <c:pt idx="92">
                  <c:v>619.5645557597378</c:v>
                </c:pt>
                <c:pt idx="93">
                  <c:v>629.78104536867477</c:v>
                </c:pt>
                <c:pt idx="94">
                  <c:v>639.81473578546434</c:v>
                </c:pt>
                <c:pt idx="95">
                  <c:v>649.65981893543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6.915290941584431</c:v>
                </c:pt>
                <c:pt idx="43">
                  <c:v>104.05265991766116</c:v>
                </c:pt>
                <c:pt idx="44">
                  <c:v>111.41136564555711</c:v>
                </c:pt>
                <c:pt idx="45">
                  <c:v>118.9683055069172</c:v>
                </c:pt>
                <c:pt idx="46">
                  <c:v>126.86955396170788</c:v>
                </c:pt>
                <c:pt idx="47">
                  <c:v>135.06132499703659</c:v>
                </c:pt>
                <c:pt idx="48">
                  <c:v>143.60357974253878</c:v>
                </c:pt>
                <c:pt idx="49">
                  <c:v>152.4348086204312</c:v>
                </c:pt>
                <c:pt idx="50">
                  <c:v>161.53457338500965</c:v>
                </c:pt>
                <c:pt idx="51">
                  <c:v>170.94374941200402</c:v>
                </c:pt>
                <c:pt idx="52">
                  <c:v>180.67374810184282</c:v>
                </c:pt>
                <c:pt idx="53">
                  <c:v>190.74671391091104</c:v>
                </c:pt>
                <c:pt idx="54">
                  <c:v>201.12840976451008</c:v>
                </c:pt>
                <c:pt idx="55">
                  <c:v>211.83055424545614</c:v>
                </c:pt>
                <c:pt idx="56">
                  <c:v>222.85319719553047</c:v>
                </c:pt>
                <c:pt idx="57">
                  <c:v>234.20229811581095</c:v>
                </c:pt>
                <c:pt idx="58">
                  <c:v>245.86171585150865</c:v>
                </c:pt>
                <c:pt idx="59">
                  <c:v>257.82684437113363</c:v>
                </c:pt>
                <c:pt idx="60">
                  <c:v>270.09446894575484</c:v>
                </c:pt>
                <c:pt idx="61">
                  <c:v>282.67642472178181</c:v>
                </c:pt>
                <c:pt idx="62">
                  <c:v>295.5559300787387</c:v>
                </c:pt>
                <c:pt idx="63">
                  <c:v>308.72248087247806</c:v>
                </c:pt>
                <c:pt idx="64">
                  <c:v>322.16608050358008</c:v>
                </c:pt>
                <c:pt idx="65">
                  <c:v>335.87565056226094</c:v>
                </c:pt>
                <c:pt idx="66">
                  <c:v>349.83910305952566</c:v>
                </c:pt>
                <c:pt idx="67">
                  <c:v>364.04299248821502</c:v>
                </c:pt>
                <c:pt idx="68">
                  <c:v>378.47259847593108</c:v>
                </c:pt>
                <c:pt idx="69">
                  <c:v>393.11199045142587</c:v>
                </c:pt>
                <c:pt idx="70">
                  <c:v>407.94411392326037</c:v>
                </c:pt>
                <c:pt idx="71">
                  <c:v>422.9508614648459</c:v>
                </c:pt>
                <c:pt idx="72">
                  <c:v>438.11331215807797</c:v>
                </c:pt>
                <c:pt idx="73">
                  <c:v>453.41183453280473</c:v>
                </c:pt>
                <c:pt idx="74">
                  <c:v>468.82613625896823</c:v>
                </c:pt>
                <c:pt idx="75">
                  <c:v>484.3353339680757</c:v>
                </c:pt>
                <c:pt idx="76">
                  <c:v>499.91807930872631</c:v>
                </c:pt>
                <c:pt idx="77">
                  <c:v>515.55265524221954</c:v>
                </c:pt>
                <c:pt idx="78">
                  <c:v>531.21711732203016</c:v>
                </c:pt>
                <c:pt idx="79">
                  <c:v>546.88942514749374</c:v>
                </c:pt>
                <c:pt idx="80">
                  <c:v>562.54757238692696</c:v>
                </c:pt>
                <c:pt idx="81">
                  <c:v>578.1696990478888</c:v>
                </c:pt>
                <c:pt idx="82">
                  <c:v>593.73418975503819</c:v>
                </c:pt>
                <c:pt idx="83">
                  <c:v>609.21978828106558</c:v>
                </c:pt>
                <c:pt idx="84">
                  <c:v>624.60570058865403</c:v>
                </c:pt>
                <c:pt idx="85">
                  <c:v>639.87169556260676</c:v>
                </c:pt>
                <c:pt idx="86">
                  <c:v>654.99819720857954</c:v>
                </c:pt>
                <c:pt idx="87">
                  <c:v>669.96637748129046</c:v>
                </c:pt>
                <c:pt idx="88">
                  <c:v>684.75823814205069</c:v>
                </c:pt>
                <c:pt idx="89">
                  <c:v>699.35667854080646</c:v>
                </c:pt>
                <c:pt idx="90">
                  <c:v>713.74555226106725</c:v>
                </c:pt>
                <c:pt idx="91">
                  <c:v>727.90972254071505</c:v>
                </c:pt>
                <c:pt idx="92">
                  <c:v>741.83510497341592</c:v>
                </c:pt>
                <c:pt idx="93">
                  <c:v>755.50870191946126</c:v>
                </c:pt>
                <c:pt idx="94">
                  <c:v>768.91862716391972</c:v>
                </c:pt>
                <c:pt idx="95">
                  <c:v>782.05412505749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5</c:v>
                </c:pt>
                <c:pt idx="21">
                  <c:v>16</c:v>
                </c:pt>
                <c:pt idx="22">
                  <c:v>18</c:v>
                </c:pt>
                <c:pt idx="23">
                  <c:v>21</c:v>
                </c:pt>
                <c:pt idx="24">
                  <c:v>22</c:v>
                </c:pt>
                <c:pt idx="25">
                  <c:v>26</c:v>
                </c:pt>
                <c:pt idx="26">
                  <c:v>29</c:v>
                </c:pt>
                <c:pt idx="27">
                  <c:v>31</c:v>
                </c:pt>
                <c:pt idx="28">
                  <c:v>32</c:v>
                </c:pt>
                <c:pt idx="29">
                  <c:v>36</c:v>
                </c:pt>
                <c:pt idx="30">
                  <c:v>38</c:v>
                </c:pt>
                <c:pt idx="31">
                  <c:v>42</c:v>
                </c:pt>
                <c:pt idx="32">
                  <c:v>44</c:v>
                </c:pt>
                <c:pt idx="33">
                  <c:v>45</c:v>
                </c:pt>
                <c:pt idx="34">
                  <c:v>51</c:v>
                </c:pt>
                <c:pt idx="35">
                  <c:v>56</c:v>
                </c:pt>
                <c:pt idx="36">
                  <c:v>60</c:v>
                </c:pt>
                <c:pt idx="37">
                  <c:v>65</c:v>
                </c:pt>
                <c:pt idx="38">
                  <c:v>71</c:v>
                </c:pt>
                <c:pt idx="39">
                  <c:v>78</c:v>
                </c:pt>
                <c:pt idx="40">
                  <c:v>82</c:v>
                </c:pt>
                <c:pt idx="41">
                  <c:v>87</c:v>
                </c:pt>
                <c:pt idx="42">
                  <c:v>92</c:v>
                </c:pt>
                <c:pt idx="43">
                  <c:v>93</c:v>
                </c:pt>
                <c:pt idx="44">
                  <c:v>96</c:v>
                </c:pt>
                <c:pt idx="45">
                  <c:v>104</c:v>
                </c:pt>
                <c:pt idx="46">
                  <c:v>113</c:v>
                </c:pt>
                <c:pt idx="47">
                  <c:v>119</c:v>
                </c:pt>
                <c:pt idx="48">
                  <c:v>127</c:v>
                </c:pt>
                <c:pt idx="49">
                  <c:v>135</c:v>
                </c:pt>
                <c:pt idx="50">
                  <c:v>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3.269695498694816</c:v>
                </c:pt>
                <c:pt idx="43">
                  <c:v>99.689069331088717</c:v>
                </c:pt>
                <c:pt idx="44">
                  <c:v>106.23868177426507</c:v>
                </c:pt>
                <c:pt idx="45">
                  <c:v>112.88138999494238</c:v>
                </c:pt>
                <c:pt idx="46">
                  <c:v>119.74993192446954</c:v>
                </c:pt>
                <c:pt idx="47">
                  <c:v>126.77195510795141</c:v>
                </c:pt>
                <c:pt idx="48">
                  <c:v>133.97242088332376</c:v>
                </c:pt>
                <c:pt idx="49">
                  <c:v>141.29278620703292</c:v>
                </c:pt>
                <c:pt idx="50">
                  <c:v>148.7117046275302</c:v>
                </c:pt>
                <c:pt idx="51">
                  <c:v>156.24167215214158</c:v>
                </c:pt>
                <c:pt idx="52">
                  <c:v>163.87264170652821</c:v>
                </c:pt>
                <c:pt idx="53">
                  <c:v>171.63643318382759</c:v>
                </c:pt>
                <c:pt idx="54">
                  <c:v>179.49704817642021</c:v>
                </c:pt>
                <c:pt idx="55">
                  <c:v>187.4478634947518</c:v>
                </c:pt>
                <c:pt idx="56">
                  <c:v>195.47899011857456</c:v>
                </c:pt>
                <c:pt idx="57">
                  <c:v>203.58927791660315</c:v>
                </c:pt>
                <c:pt idx="58">
                  <c:v>211.76475010037706</c:v>
                </c:pt>
                <c:pt idx="59">
                  <c:v>219.99359127583</c:v>
                </c:pt>
                <c:pt idx="60">
                  <c:v>228.27139000315321</c:v>
                </c:pt>
                <c:pt idx="61">
                  <c:v>236.61535290914929</c:v>
                </c:pt>
                <c:pt idx="62">
                  <c:v>245.00602043343844</c:v>
                </c:pt>
                <c:pt idx="63">
                  <c:v>253.43409888629017</c:v>
                </c:pt>
                <c:pt idx="64">
                  <c:v>261.89272708103306</c:v>
                </c:pt>
                <c:pt idx="65">
                  <c:v>270.37505857062217</c:v>
                </c:pt>
                <c:pt idx="66">
                  <c:v>278.87430154920128</c:v>
                </c:pt>
                <c:pt idx="67">
                  <c:v>287.3835329834377</c:v>
                </c:pt>
                <c:pt idx="68">
                  <c:v>295.89574146081179</c:v>
                </c:pt>
                <c:pt idx="69">
                  <c:v>304.40385071134176</c:v>
                </c:pt>
                <c:pt idx="70">
                  <c:v>312.90074892306126</c:v>
                </c:pt>
                <c:pt idx="71">
                  <c:v>321.37930632102405</c:v>
                </c:pt>
                <c:pt idx="72">
                  <c:v>329.8324798696716</c:v>
                </c:pt>
                <c:pt idx="73">
                  <c:v>338.25334298188062</c:v>
                </c:pt>
                <c:pt idx="74">
                  <c:v>346.6350833232342</c:v>
                </c:pt>
                <c:pt idx="75">
                  <c:v>354.97100210396906</c:v>
                </c:pt>
                <c:pt idx="76">
                  <c:v>363.25454402871617</c:v>
                </c:pt>
                <c:pt idx="77">
                  <c:v>371.47930682379962</c:v>
                </c:pt>
                <c:pt idx="78">
                  <c:v>379.63906928945966</c:v>
                </c:pt>
                <c:pt idx="79">
                  <c:v>387.72781340543241</c:v>
                </c:pt>
                <c:pt idx="80">
                  <c:v>395.73974744725047</c:v>
                </c:pt>
                <c:pt idx="81">
                  <c:v>403.66931858788945</c:v>
                </c:pt>
                <c:pt idx="82">
                  <c:v>411.51121324592157</c:v>
                </c:pt>
                <c:pt idx="83">
                  <c:v>419.26036950131908</c:v>
                </c:pt>
                <c:pt idx="84">
                  <c:v>426.9119854204863</c:v>
                </c:pt>
                <c:pt idx="85">
                  <c:v>434.46152697769793</c:v>
                </c:pt>
                <c:pt idx="86">
                  <c:v>441.9047329466448</c:v>
                </c:pt>
                <c:pt idx="87">
                  <c:v>449.23762354021238</c:v>
                </c:pt>
                <c:pt idx="88">
                  <c:v>456.45650665165698</c:v>
                </c:pt>
                <c:pt idx="89">
                  <c:v>463.55797794587829</c:v>
                </c:pt>
                <c:pt idx="90">
                  <c:v>470.53891797872842</c:v>
                </c:pt>
                <c:pt idx="91">
                  <c:v>477.39649375254061</c:v>
                </c:pt>
                <c:pt idx="92">
                  <c:v>484.12815694247206</c:v>
                </c:pt>
                <c:pt idx="93">
                  <c:v>490.7316416103742</c:v>
                </c:pt>
                <c:pt idx="94">
                  <c:v>497.20496037093915</c:v>
                </c:pt>
                <c:pt idx="95">
                  <c:v>503.54640946890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3.35676500964631</c:v>
                </c:pt>
                <c:pt idx="43">
                  <c:v>99.903485040577777</c:v>
                </c:pt>
                <c:pt idx="44">
                  <c:v>106.62738910632523</c:v>
                </c:pt>
                <c:pt idx="45">
                  <c:v>113.49789280161701</c:v>
                </c:pt>
                <c:pt idx="46">
                  <c:v>120.65395017063</c:v>
                </c:pt>
                <c:pt idx="47">
                  <c:v>128.02955283730967</c:v>
                </c:pt>
                <c:pt idx="48">
                  <c:v>135.65535132382956</c:v>
                </c:pt>
                <c:pt idx="49">
                  <c:v>143.47810911571347</c:v>
                </c:pt>
                <c:pt idx="50">
                  <c:v>151.48125368350981</c:v>
                </c:pt>
                <c:pt idx="51">
                  <c:v>159.68136832408484</c:v>
                </c:pt>
                <c:pt idx="52">
                  <c:v>168.07206496355099</c:v>
                </c:pt>
                <c:pt idx="53">
                  <c:v>176.68826420619189</c:v>
                </c:pt>
                <c:pt idx="54">
                  <c:v>185.49698264747741</c:v>
                </c:pt>
                <c:pt idx="55">
                  <c:v>194.49388248847976</c:v>
                </c:pt>
                <c:pt idx="56">
                  <c:v>203.67080863872798</c:v>
                </c:pt>
                <c:pt idx="57">
                  <c:v>213.02786038377445</c:v>
                </c:pt>
                <c:pt idx="58">
                  <c:v>222.55190926431933</c:v>
                </c:pt>
                <c:pt idx="59">
                  <c:v>232.23154391174276</c:v>
                </c:pt>
                <c:pt idx="60">
                  <c:v>242.06229620468778</c:v>
                </c:pt>
                <c:pt idx="61">
                  <c:v>252.06086606221069</c:v>
                </c:pt>
                <c:pt idx="62">
                  <c:v>262.20700390567686</c:v>
                </c:pt>
                <c:pt idx="63">
                  <c:v>272.49009912708948</c:v>
                </c:pt>
                <c:pt idx="64">
                  <c:v>282.90148743047951</c:v>
                </c:pt>
                <c:pt idx="65">
                  <c:v>293.43213196466832</c:v>
                </c:pt>
                <c:pt idx="66">
                  <c:v>304.07269082644183</c:v>
                </c:pt>
                <c:pt idx="67">
                  <c:v>314.81327390601859</c:v>
                </c:pt>
                <c:pt idx="68">
                  <c:v>325.64351401066529</c:v>
                </c:pt>
                <c:pt idx="69">
                  <c:v>336.55260832242169</c:v>
                </c:pt>
                <c:pt idx="70">
                  <c:v>347.52937105364612</c:v>
                </c:pt>
                <c:pt idx="71">
                  <c:v>358.56226954122235</c:v>
                </c:pt>
                <c:pt idx="72">
                  <c:v>369.6395878815585</c:v>
                </c:pt>
                <c:pt idx="73">
                  <c:v>380.74948525342455</c:v>
                </c:pt>
                <c:pt idx="74">
                  <c:v>391.88001233469663</c:v>
                </c:pt>
                <c:pt idx="75">
                  <c:v>403.01913304263235</c:v>
                </c:pt>
                <c:pt idx="76">
                  <c:v>414.15478967670981</c:v>
                </c:pt>
                <c:pt idx="77">
                  <c:v>425.27494048363133</c:v>
                </c:pt>
                <c:pt idx="78">
                  <c:v>436.36762368505134</c:v>
                </c:pt>
                <c:pt idx="79">
                  <c:v>447.42101375246983</c:v>
                </c:pt>
                <c:pt idx="80">
                  <c:v>458.42347991403483</c:v>
                </c:pt>
                <c:pt idx="81">
                  <c:v>469.36362976267031</c:v>
                </c:pt>
                <c:pt idx="82">
                  <c:v>480.2303359308118</c:v>
                </c:pt>
                <c:pt idx="83">
                  <c:v>491.01277908224654</c:v>
                </c:pt>
                <c:pt idx="84">
                  <c:v>501.70048422112194</c:v>
                </c:pt>
                <c:pt idx="85">
                  <c:v>512.28335572533206</c:v>
                </c:pt>
                <c:pt idx="86">
                  <c:v>522.75170691227527</c:v>
                </c:pt>
                <c:pt idx="87">
                  <c:v>533.09629371763776</c:v>
                </c:pt>
                <c:pt idx="88">
                  <c:v>543.30834341867671</c:v>
                </c:pt>
                <c:pt idx="89">
                  <c:v>553.37957337925468</c:v>
                </c:pt>
                <c:pt idx="90">
                  <c:v>563.30220405951991</c:v>
                </c:pt>
                <c:pt idx="91">
                  <c:v>573.06897642838499</c:v>
                </c:pt>
                <c:pt idx="92">
                  <c:v>582.67316296262243</c:v>
                </c:pt>
                <c:pt idx="93">
                  <c:v>592.10857613015435</c:v>
                </c:pt>
                <c:pt idx="94">
                  <c:v>601.36957290643898</c:v>
                </c:pt>
                <c:pt idx="95">
                  <c:v>610.45105938796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3.444328254384885</c:v>
                </c:pt>
                <c:pt idx="43">
                  <c:v>100.11972728578023</c:v>
                </c:pt>
                <c:pt idx="44">
                  <c:v>107.02071475787187</c:v>
                </c:pt>
                <c:pt idx="45">
                  <c:v>114.12405342807295</c:v>
                </c:pt>
                <c:pt idx="46">
                  <c:v>121.5758611691935</c:v>
                </c:pt>
                <c:pt idx="47">
                  <c:v>129.31757232212192</c:v>
                </c:pt>
                <c:pt idx="48">
                  <c:v>137.38676430725528</c:v>
                </c:pt>
                <c:pt idx="49">
                  <c:v>145.73687536078592</c:v>
                </c:pt>
                <c:pt idx="50">
                  <c:v>154.35758681691286</c:v>
                </c:pt>
                <c:pt idx="51">
                  <c:v>163.27114410521921</c:v>
                </c:pt>
                <c:pt idx="52">
                  <c:v>172.47646575511098</c:v>
                </c:pt>
                <c:pt idx="53">
                  <c:v>182.01326316601973</c:v>
                </c:pt>
                <c:pt idx="54">
                  <c:v>191.85327405119637</c:v>
                </c:pt>
                <c:pt idx="55">
                  <c:v>201.99613809993946</c:v>
                </c:pt>
                <c:pt idx="56">
                  <c:v>212.43709478281852</c:v>
                </c:pt>
                <c:pt idx="57">
                  <c:v>223.17908673119615</c:v>
                </c:pt>
                <c:pt idx="58">
                  <c:v>234.21133888489607</c:v>
                </c:pt>
                <c:pt idx="59">
                  <c:v>245.52423222472964</c:v>
                </c:pt>
                <c:pt idx="60">
                  <c:v>257.11447761126192</c:v>
                </c:pt>
                <c:pt idx="61">
                  <c:v>268.99932576640185</c:v>
                </c:pt>
                <c:pt idx="62">
                  <c:v>281.15859019267293</c:v>
                </c:pt>
                <c:pt idx="63">
                  <c:v>293.58097259488818</c:v>
                </c:pt>
                <c:pt idx="64">
                  <c:v>306.25639190066721</c:v>
                </c:pt>
                <c:pt idx="65">
                  <c:v>319.17376449842357</c:v>
                </c:pt>
                <c:pt idx="66">
                  <c:v>332.32108802360983</c:v>
                </c:pt>
                <c:pt idx="67">
                  <c:v>345.6851145276994</c:v>
                </c:pt>
                <c:pt idx="68">
                  <c:v>359.25144723994538</c:v>
                </c:pt>
                <c:pt idx="69">
                  <c:v>373.00459814465927</c:v>
                </c:pt>
                <c:pt idx="70">
                  <c:v>386.92806722607588</c:v>
                </c:pt>
                <c:pt idx="71">
                  <c:v>401.0044027267536</c:v>
                </c:pt>
                <c:pt idx="72">
                  <c:v>415.21544220019695</c:v>
                </c:pt>
                <c:pt idx="73">
                  <c:v>429.54241425784392</c:v>
                </c:pt>
                <c:pt idx="74">
                  <c:v>443.96598950930627</c:v>
                </c:pt>
                <c:pt idx="75">
                  <c:v>458.46634463119602</c:v>
                </c:pt>
                <c:pt idx="76">
                  <c:v>473.02328818396398</c:v>
                </c:pt>
                <c:pt idx="77">
                  <c:v>487.61635233938557</c:v>
                </c:pt>
                <c:pt idx="78">
                  <c:v>502.22492281532601</c:v>
                </c:pt>
                <c:pt idx="79">
                  <c:v>516.82836026018595</c:v>
                </c:pt>
                <c:pt idx="80">
                  <c:v>531.40612660808733</c:v>
                </c:pt>
                <c:pt idx="81">
                  <c:v>545.937891736187</c:v>
                </c:pt>
                <c:pt idx="82">
                  <c:v>560.40361765753414</c:v>
                </c:pt>
                <c:pt idx="83">
                  <c:v>574.78366398013736</c:v>
                </c:pt>
                <c:pt idx="84">
                  <c:v>589.05888276849726</c:v>
                </c:pt>
                <c:pt idx="85">
                  <c:v>603.21070997977654</c:v>
                </c:pt>
                <c:pt idx="86">
                  <c:v>617.22124697904542</c:v>
                </c:pt>
                <c:pt idx="87">
                  <c:v>631.07334480282248</c:v>
                </c:pt>
                <c:pt idx="88">
                  <c:v>644.75067828617125</c:v>
                </c:pt>
                <c:pt idx="89">
                  <c:v>658.23780325490247</c:v>
                </c:pt>
                <c:pt idx="90">
                  <c:v>671.52020214410834</c:v>
                </c:pt>
                <c:pt idx="91">
                  <c:v>684.58433142732383</c:v>
                </c:pt>
                <c:pt idx="92">
                  <c:v>697.41765623218964</c:v>
                </c:pt>
                <c:pt idx="93">
                  <c:v>710.00867737983276</c:v>
                </c:pt>
                <c:pt idx="94">
                  <c:v>722.34694891669392</c:v>
                </c:pt>
                <c:pt idx="95">
                  <c:v>734.42309177478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9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6</c:v>
                </c:pt>
                <c:pt idx="9">
                  <c:v>6</c:v>
                </c:pt>
                <c:pt idx="10">
                  <c:v>11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4">
                  <c:v>11</c:v>
                </c:pt>
                <c:pt idx="15">
                  <c:v>14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2</c:v>
                </c:pt>
                <c:pt idx="20">
                  <c:v>15</c:v>
                </c:pt>
                <c:pt idx="21">
                  <c:v>14</c:v>
                </c:pt>
                <c:pt idx="22">
                  <c:v>12</c:v>
                </c:pt>
                <c:pt idx="23">
                  <c:v>15</c:v>
                </c:pt>
                <c:pt idx="24">
                  <c:v>14</c:v>
                </c:pt>
                <c:pt idx="25">
                  <c:v>14</c:v>
                </c:pt>
                <c:pt idx="26">
                  <c:v>20</c:v>
                </c:pt>
                <c:pt idx="27">
                  <c:v>21</c:v>
                </c:pt>
                <c:pt idx="28">
                  <c:v>19</c:v>
                </c:pt>
                <c:pt idx="29">
                  <c:v>21</c:v>
                </c:pt>
                <c:pt idx="30">
                  <c:v>22</c:v>
                </c:pt>
                <c:pt idx="31">
                  <c:v>29</c:v>
                </c:pt>
                <c:pt idx="32">
                  <c:v>31</c:v>
                </c:pt>
                <c:pt idx="33">
                  <c:v>30</c:v>
                </c:pt>
                <c:pt idx="34">
                  <c:v>33</c:v>
                </c:pt>
                <c:pt idx="35">
                  <c:v>37</c:v>
                </c:pt>
                <c:pt idx="36">
                  <c:v>38</c:v>
                </c:pt>
                <c:pt idx="37">
                  <c:v>40</c:v>
                </c:pt>
                <c:pt idx="38">
                  <c:v>43</c:v>
                </c:pt>
                <c:pt idx="39">
                  <c:v>39</c:v>
                </c:pt>
                <c:pt idx="40">
                  <c:v>34</c:v>
                </c:pt>
                <c:pt idx="41">
                  <c:v>35</c:v>
                </c:pt>
                <c:pt idx="42">
                  <c:v>40</c:v>
                </c:pt>
                <c:pt idx="43">
                  <c:v>40</c:v>
                </c:pt>
                <c:pt idx="44">
                  <c:v>46</c:v>
                </c:pt>
                <c:pt idx="45">
                  <c:v>43</c:v>
                </c:pt>
                <c:pt idx="46">
                  <c:v>44</c:v>
                </c:pt>
                <c:pt idx="47">
                  <c:v>41</c:v>
                </c:pt>
                <c:pt idx="48">
                  <c:v>39</c:v>
                </c:pt>
                <c:pt idx="49">
                  <c:v>37</c:v>
                </c:pt>
                <c:pt idx="50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4.511971852868058</c:v>
                </c:pt>
                <c:pt idx="43">
                  <c:v>36.291970899235949</c:v>
                </c:pt>
                <c:pt idx="44">
                  <c:v>38.018477129499594</c:v>
                </c:pt>
                <c:pt idx="45">
                  <c:v>39.64916888982858</c:v>
                </c:pt>
                <c:pt idx="46">
                  <c:v>41.260170404940013</c:v>
                </c:pt>
                <c:pt idx="47">
                  <c:v>42.878027837942852</c:v>
                </c:pt>
                <c:pt idx="48">
                  <c:v>44.466930656511565</c:v>
                </c:pt>
                <c:pt idx="49">
                  <c:v>46.003717927678665</c:v>
                </c:pt>
                <c:pt idx="50">
                  <c:v>47.394510185590939</c:v>
                </c:pt>
                <c:pt idx="51">
                  <c:v>48.759522092682545</c:v>
                </c:pt>
                <c:pt idx="52">
                  <c:v>50.084480852056416</c:v>
                </c:pt>
                <c:pt idx="53">
                  <c:v>51.395009961764558</c:v>
                </c:pt>
                <c:pt idx="54">
                  <c:v>52.587321565711548</c:v>
                </c:pt>
                <c:pt idx="55">
                  <c:v>53.722914392364132</c:v>
                </c:pt>
                <c:pt idx="56">
                  <c:v>54.844756445934962</c:v>
                </c:pt>
                <c:pt idx="57">
                  <c:v>55.896289625222053</c:v>
                </c:pt>
                <c:pt idx="58">
                  <c:v>56.886053049911517</c:v>
                </c:pt>
                <c:pt idx="59">
                  <c:v>57.813379369228876</c:v>
                </c:pt>
                <c:pt idx="60">
                  <c:v>58.715111713814572</c:v>
                </c:pt>
                <c:pt idx="61">
                  <c:v>59.543903001189847</c:v>
                </c:pt>
                <c:pt idx="62">
                  <c:v>60.30432230889727</c:v>
                </c:pt>
                <c:pt idx="63">
                  <c:v>61.012213553031742</c:v>
                </c:pt>
                <c:pt idx="64">
                  <c:v>61.683117731895081</c:v>
                </c:pt>
                <c:pt idx="65">
                  <c:v>62.283246006145305</c:v>
                </c:pt>
                <c:pt idx="66">
                  <c:v>62.818141090695676</c:v>
                </c:pt>
                <c:pt idx="67">
                  <c:v>63.29969511201439</c:v>
                </c:pt>
                <c:pt idx="68">
                  <c:v>63.730337852298234</c:v>
                </c:pt>
                <c:pt idx="69">
                  <c:v>64.106080652376804</c:v>
                </c:pt>
                <c:pt idx="70">
                  <c:v>64.424060989361323</c:v>
                </c:pt>
                <c:pt idx="71">
                  <c:v>64.69537708529252</c:v>
                </c:pt>
                <c:pt idx="72">
                  <c:v>64.908556587724135</c:v>
                </c:pt>
                <c:pt idx="73">
                  <c:v>65.063975807182103</c:v>
                </c:pt>
                <c:pt idx="74">
                  <c:v>65.155558993354489</c:v>
                </c:pt>
                <c:pt idx="75">
                  <c:v>65.192934735110725</c:v>
                </c:pt>
                <c:pt idx="76">
                  <c:v>65.176345655547607</c:v>
                </c:pt>
                <c:pt idx="77">
                  <c:v>65.105760023305322</c:v>
                </c:pt>
                <c:pt idx="78">
                  <c:v>64.979120595847803</c:v>
                </c:pt>
                <c:pt idx="79">
                  <c:v>64.795122130287552</c:v>
                </c:pt>
                <c:pt idx="80">
                  <c:v>64.556747218628601</c:v>
                </c:pt>
                <c:pt idx="81">
                  <c:v>64.265631626444346</c:v>
                </c:pt>
                <c:pt idx="82">
                  <c:v>63.922401629567133</c:v>
                </c:pt>
                <c:pt idx="83">
                  <c:v>63.527187743770639</c:v>
                </c:pt>
                <c:pt idx="84">
                  <c:v>63.081705091976502</c:v>
                </c:pt>
                <c:pt idx="85">
                  <c:v>62.58755870036515</c:v>
                </c:pt>
                <c:pt idx="86">
                  <c:v>62.046418546964233</c:v>
                </c:pt>
                <c:pt idx="87">
                  <c:v>61.459679619162358</c:v>
                </c:pt>
                <c:pt idx="88">
                  <c:v>60.829223931799163</c:v>
                </c:pt>
                <c:pt idx="89">
                  <c:v>60.156739537694577</c:v>
                </c:pt>
                <c:pt idx="90">
                  <c:v>59.443824473554308</c:v>
                </c:pt>
                <c:pt idx="91">
                  <c:v>58.692431489775018</c:v>
                </c:pt>
                <c:pt idx="92">
                  <c:v>57.90473032371554</c:v>
                </c:pt>
                <c:pt idx="93">
                  <c:v>57.08281267025167</c:v>
                </c:pt>
                <c:pt idx="94">
                  <c:v>56.228741568682594</c:v>
                </c:pt>
                <c:pt idx="95">
                  <c:v>55.344660380665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4.579840408457102</c:v>
                </c:pt>
                <c:pt idx="43">
                  <c:v>36.454880141538169</c:v>
                </c:pt>
                <c:pt idx="44">
                  <c:v>38.307003768961366</c:v>
                </c:pt>
                <c:pt idx="45">
                  <c:v>40.096870929604705</c:v>
                </c:pt>
                <c:pt idx="46">
                  <c:v>41.902514236035586</c:v>
                </c:pt>
                <c:pt idx="47">
                  <c:v>43.753486240644662</c:v>
                </c:pt>
                <c:pt idx="48">
                  <c:v>45.614606844441148</c:v>
                </c:pt>
                <c:pt idx="49">
                  <c:v>47.464120554830373</c:v>
                </c:pt>
                <c:pt idx="50">
                  <c:v>49.208071892749487</c:v>
                </c:pt>
                <c:pt idx="51">
                  <c:v>50.967083203551226</c:v>
                </c:pt>
                <c:pt idx="52">
                  <c:v>52.726481302238682</c:v>
                </c:pt>
                <c:pt idx="53">
                  <c:v>54.510750228714372</c:v>
                </c:pt>
                <c:pt idx="54">
                  <c:v>56.215082934059353</c:v>
                </c:pt>
                <c:pt idx="55">
                  <c:v>57.899201820781386</c:v>
                </c:pt>
                <c:pt idx="56">
                  <c:v>59.604506577905497</c:v>
                </c:pt>
                <c:pt idx="57">
                  <c:v>61.272163573690875</c:v>
                </c:pt>
                <c:pt idx="58">
                  <c:v>62.908229454029048</c:v>
                </c:pt>
                <c:pt idx="59">
                  <c:v>64.50819480747424</c:v>
                </c:pt>
                <c:pt idx="60">
                  <c:v>66.10665495962175</c:v>
                </c:pt>
                <c:pt idx="61">
                  <c:v>67.652273716099472</c:v>
                </c:pt>
                <c:pt idx="62">
                  <c:v>69.14670795919487</c:v>
                </c:pt>
                <c:pt idx="63">
                  <c:v>70.602946022977136</c:v>
                </c:pt>
                <c:pt idx="64">
                  <c:v>72.033002181258226</c:v>
                </c:pt>
                <c:pt idx="65">
                  <c:v>73.399419517980292</c:v>
                </c:pt>
                <c:pt idx="66">
                  <c:v>74.704445187953084</c:v>
                </c:pt>
                <c:pt idx="67">
                  <c:v>75.957009162608301</c:v>
                </c:pt>
                <c:pt idx="68">
                  <c:v>77.156219815798565</c:v>
                </c:pt>
                <c:pt idx="69">
                  <c:v>78.294800120305084</c:v>
                </c:pt>
                <c:pt idx="70">
                  <c:v>79.366482968625107</c:v>
                </c:pt>
                <c:pt idx="71">
                  <c:v>80.379074501510502</c:v>
                </c:pt>
                <c:pt idx="72">
                  <c:v>81.317690965039532</c:v>
                </c:pt>
                <c:pt idx="73">
                  <c:v>82.179741634144051</c:v>
                </c:pt>
                <c:pt idx="74">
                  <c:v>82.956164671042544</c:v>
                </c:pt>
                <c:pt idx="75">
                  <c:v>83.653955345890722</c:v>
                </c:pt>
                <c:pt idx="76">
                  <c:v>84.270726194498238</c:v>
                </c:pt>
                <c:pt idx="77">
                  <c:v>84.803976828044654</c:v>
                </c:pt>
                <c:pt idx="78">
                  <c:v>85.249145219624069</c:v>
                </c:pt>
                <c:pt idx="79">
                  <c:v>85.60272808349572</c:v>
                </c:pt>
                <c:pt idx="80">
                  <c:v>85.8659143831796</c:v>
                </c:pt>
                <c:pt idx="81">
                  <c:v>86.038628332140263</c:v>
                </c:pt>
                <c:pt idx="82">
                  <c:v>86.120003516222624</c:v>
                </c:pt>
                <c:pt idx="83">
                  <c:v>86.108900946261983</c:v>
                </c:pt>
                <c:pt idx="84">
                  <c:v>86.00598943869943</c:v>
                </c:pt>
                <c:pt idx="85">
                  <c:v>85.812058686606349</c:v>
                </c:pt>
                <c:pt idx="86">
                  <c:v>85.52819288344358</c:v>
                </c:pt>
                <c:pt idx="87">
                  <c:v>85.155431418353032</c:v>
                </c:pt>
                <c:pt idx="88">
                  <c:v>84.695526099696224</c:v>
                </c:pt>
                <c:pt idx="89">
                  <c:v>84.150254170957027</c:v>
                </c:pt>
                <c:pt idx="90">
                  <c:v>83.521513174962138</c:v>
                </c:pt>
                <c:pt idx="91">
                  <c:v>82.811757599591019</c:v>
                </c:pt>
                <c:pt idx="92">
                  <c:v>82.023853622319876</c:v>
                </c:pt>
                <c:pt idx="93">
                  <c:v>81.160773687296867</c:v>
                </c:pt>
                <c:pt idx="94">
                  <c:v>80.225632910418611</c:v>
                </c:pt>
                <c:pt idx="95">
                  <c:v>79.221780012879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.648094122249418</c:v>
                </c:pt>
                <c:pt idx="43">
                  <c:v>36.619189455527206</c:v>
                </c:pt>
                <c:pt idx="44">
                  <c:v>38.599018160986944</c:v>
                </c:pt>
                <c:pt idx="45">
                  <c:v>40.55176698411212</c:v>
                </c:pt>
                <c:pt idx="46">
                  <c:v>42.558008321770927</c:v>
                </c:pt>
                <c:pt idx="47">
                  <c:v>44.651011704074755</c:v>
                </c:pt>
                <c:pt idx="48">
                  <c:v>46.796992194662757</c:v>
                </c:pt>
                <c:pt idx="49">
                  <c:v>48.976413842521225</c:v>
                </c:pt>
                <c:pt idx="50">
                  <c:v>51.096083233878261</c:v>
                </c:pt>
                <c:pt idx="51">
                  <c:v>53.277882481910545</c:v>
                </c:pt>
                <c:pt idx="52">
                  <c:v>55.507581161991212</c:v>
                </c:pt>
                <c:pt idx="53">
                  <c:v>57.80933292844945</c:v>
                </c:pt>
                <c:pt idx="54">
                  <c:v>60.078068037208311</c:v>
                </c:pt>
                <c:pt idx="55">
                  <c:v>62.372414218140747</c:v>
                </c:pt>
                <c:pt idx="56">
                  <c:v>64.732801989534096</c:v>
                </c:pt>
                <c:pt idx="57">
                  <c:v>67.098613893135436</c:v>
                </c:pt>
                <c:pt idx="58">
                  <c:v>69.473797826383006</c:v>
                </c:pt>
                <c:pt idx="59">
                  <c:v>71.850237168968278</c:v>
                </c:pt>
                <c:pt idx="60">
                  <c:v>74.260364541657097</c:v>
                </c:pt>
                <c:pt idx="61">
                  <c:v>76.648769254746355</c:v>
                </c:pt>
                <c:pt idx="62">
                  <c:v>79.01393698421893</c:v>
                </c:pt>
                <c:pt idx="63">
                  <c:v>81.36556464422867</c:v>
                </c:pt>
                <c:pt idx="64">
                  <c:v>83.711523487487227</c:v>
                </c:pt>
                <c:pt idx="65">
                  <c:v>86.009905403093839</c:v>
                </c:pt>
                <c:pt idx="66">
                  <c:v>88.258718291886183</c:v>
                </c:pt>
                <c:pt idx="67">
                  <c:v>90.462820118147363</c:v>
                </c:pt>
                <c:pt idx="68">
                  <c:v>92.616733117309209</c:v>
                </c:pt>
                <c:pt idx="69">
                  <c:v>94.70848626415129</c:v>
                </c:pt>
                <c:pt idx="70">
                  <c:v>96.726877134784587</c:v>
                </c:pt>
                <c:pt idx="71">
                  <c:v>98.674781704140315</c:v>
                </c:pt>
                <c:pt idx="72">
                  <c:v>100.53218390993544</c:v>
                </c:pt>
                <c:pt idx="73">
                  <c:v>102.29174538583257</c:v>
                </c:pt>
                <c:pt idx="74">
                  <c:v>103.93959753201554</c:v>
                </c:pt>
                <c:pt idx="75">
                  <c:v>105.47826552617738</c:v>
                </c:pt>
                <c:pt idx="76">
                  <c:v>106.90090329883317</c:v>
                </c:pt>
                <c:pt idx="77">
                  <c:v>108.2007460084553</c:v>
                </c:pt>
                <c:pt idx="78">
                  <c:v>109.36898752872611</c:v>
                </c:pt>
                <c:pt idx="79">
                  <c:v>110.39826806946968</c:v>
                </c:pt>
                <c:pt idx="80">
                  <c:v>111.28642878116557</c:v>
                </c:pt>
                <c:pt idx="81">
                  <c:v>112.03025216805158</c:v>
                </c:pt>
                <c:pt idx="82">
                  <c:v>112.62609116687467</c:v>
                </c:pt>
                <c:pt idx="83">
                  <c:v>113.07040827265347</c:v>
                </c:pt>
                <c:pt idx="84">
                  <c:v>113.36187003960588</c:v>
                </c:pt>
                <c:pt idx="85">
                  <c:v>113.49967918093245</c:v>
                </c:pt>
                <c:pt idx="86">
                  <c:v>113.48375542738654</c:v>
                </c:pt>
                <c:pt idx="87">
                  <c:v>113.31440277852073</c:v>
                </c:pt>
                <c:pt idx="88">
                  <c:v>112.9930646626421</c:v>
                </c:pt>
                <c:pt idx="89">
                  <c:v>112.5216304742146</c:v>
                </c:pt>
                <c:pt idx="90">
                  <c:v>111.90251814761397</c:v>
                </c:pt>
                <c:pt idx="91">
                  <c:v>111.13909708971129</c:v>
                </c:pt>
                <c:pt idx="92">
                  <c:v>110.23552699781816</c:v>
                </c:pt>
                <c:pt idx="93">
                  <c:v>109.19643141630895</c:v>
                </c:pt>
                <c:pt idx="94">
                  <c:v>108.02690842544317</c:v>
                </c:pt>
                <c:pt idx="95">
                  <c:v>106.732594161803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6</c:v>
                </c:pt>
                <c:pt idx="1">
                  <c:v>17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2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31</c:v>
                </c:pt>
                <c:pt idx="11">
                  <c:v>33</c:v>
                </c:pt>
                <c:pt idx="12">
                  <c:v>35</c:v>
                </c:pt>
                <c:pt idx="13">
                  <c:v>38</c:v>
                </c:pt>
                <c:pt idx="14">
                  <c:v>39</c:v>
                </c:pt>
                <c:pt idx="15">
                  <c:v>39</c:v>
                </c:pt>
                <c:pt idx="16">
                  <c:v>40</c:v>
                </c:pt>
                <c:pt idx="17">
                  <c:v>45</c:v>
                </c:pt>
                <c:pt idx="18">
                  <c:v>48</c:v>
                </c:pt>
                <c:pt idx="19">
                  <c:v>49</c:v>
                </c:pt>
                <c:pt idx="20">
                  <c:v>52</c:v>
                </c:pt>
                <c:pt idx="21">
                  <c:v>56</c:v>
                </c:pt>
                <c:pt idx="22">
                  <c:v>59</c:v>
                </c:pt>
                <c:pt idx="23">
                  <c:v>61</c:v>
                </c:pt>
                <c:pt idx="24">
                  <c:v>64</c:v>
                </c:pt>
                <c:pt idx="25">
                  <c:v>67</c:v>
                </c:pt>
                <c:pt idx="26">
                  <c:v>73</c:v>
                </c:pt>
                <c:pt idx="27">
                  <c:v>76</c:v>
                </c:pt>
                <c:pt idx="28">
                  <c:v>82</c:v>
                </c:pt>
                <c:pt idx="29">
                  <c:v>88</c:v>
                </c:pt>
                <c:pt idx="30">
                  <c:v>94</c:v>
                </c:pt>
                <c:pt idx="31">
                  <c:v>103</c:v>
                </c:pt>
                <c:pt idx="32">
                  <c:v>110</c:v>
                </c:pt>
                <c:pt idx="33">
                  <c:v>118</c:v>
                </c:pt>
                <c:pt idx="34">
                  <c:v>122</c:v>
                </c:pt>
                <c:pt idx="35">
                  <c:v>134</c:v>
                </c:pt>
                <c:pt idx="36">
                  <c:v>137</c:v>
                </c:pt>
                <c:pt idx="37">
                  <c:v>145</c:v>
                </c:pt>
                <c:pt idx="38">
                  <c:v>154</c:v>
                </c:pt>
                <c:pt idx="39">
                  <c:v>163</c:v>
                </c:pt>
                <c:pt idx="40">
                  <c:v>166</c:v>
                </c:pt>
                <c:pt idx="41">
                  <c:v>174</c:v>
                </c:pt>
                <c:pt idx="42">
                  <c:v>182</c:v>
                </c:pt>
                <c:pt idx="43">
                  <c:v>194</c:v>
                </c:pt>
                <c:pt idx="44">
                  <c:v>201</c:v>
                </c:pt>
                <c:pt idx="45">
                  <c:v>210</c:v>
                </c:pt>
                <c:pt idx="46">
                  <c:v>219</c:v>
                </c:pt>
                <c:pt idx="47">
                  <c:v>231</c:v>
                </c:pt>
                <c:pt idx="48">
                  <c:v>241</c:v>
                </c:pt>
                <c:pt idx="49">
                  <c:v>251</c:v>
                </c:pt>
                <c:pt idx="50">
                  <c:v>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1.42217458704161</c:v>
                </c:pt>
                <c:pt idx="43">
                  <c:v>191.07860680483356</c:v>
                </c:pt>
                <c:pt idx="44">
                  <c:v>200.93754424675637</c:v>
                </c:pt>
                <c:pt idx="45">
                  <c:v>210.9421277389331</c:v>
                </c:pt>
                <c:pt idx="46">
                  <c:v>221.29659296182456</c:v>
                </c:pt>
                <c:pt idx="47">
                  <c:v>231.88793425354174</c:v>
                </c:pt>
                <c:pt idx="48">
                  <c:v>242.74489125548567</c:v>
                </c:pt>
                <c:pt idx="49">
                  <c:v>253.78467211073581</c:v>
                </c:pt>
                <c:pt idx="50">
                  <c:v>264.97944116115502</c:v>
                </c:pt>
                <c:pt idx="51">
                  <c:v>276.34045769745967</c:v>
                </c:pt>
                <c:pt idx="52">
                  <c:v>287.84713256248926</c:v>
                </c:pt>
                <c:pt idx="53">
                  <c:v>299.5567257539775</c:v>
                </c:pt>
                <c:pt idx="54">
                  <c:v>311.41701881431322</c:v>
                </c:pt>
                <c:pt idx="55">
                  <c:v>323.4128412487504</c:v>
                </c:pt>
                <c:pt idx="56">
                  <c:v>335.5272809399421</c:v>
                </c:pt>
                <c:pt idx="57">
                  <c:v>347.75765779037033</c:v>
                </c:pt>
                <c:pt idx="58">
                  <c:v>360.08532664530503</c:v>
                </c:pt>
                <c:pt idx="59">
                  <c:v>372.49027818765268</c:v>
                </c:pt>
                <c:pt idx="60">
                  <c:v>384.96605826553503</c:v>
                </c:pt>
                <c:pt idx="61">
                  <c:v>397.54185277185877</c:v>
                </c:pt>
                <c:pt idx="62">
                  <c:v>410.18649150155284</c:v>
                </c:pt>
                <c:pt idx="63">
                  <c:v>422.88557716460696</c:v>
                </c:pt>
                <c:pt idx="64">
                  <c:v>435.62874399350017</c:v>
                </c:pt>
                <c:pt idx="65">
                  <c:v>448.40565252635554</c:v>
                </c:pt>
                <c:pt idx="66">
                  <c:v>461.20605193932278</c:v>
                </c:pt>
                <c:pt idx="67">
                  <c:v>474.01949917598154</c:v>
                </c:pt>
                <c:pt idx="68">
                  <c:v>486.83542708569092</c:v>
                </c:pt>
                <c:pt idx="69">
                  <c:v>499.64317790395279</c:v>
                </c:pt>
                <c:pt idx="70">
                  <c:v>512.43204583212685</c:v>
                </c:pt>
                <c:pt idx="71">
                  <c:v>525.19130109926914</c:v>
                </c:pt>
                <c:pt idx="72">
                  <c:v>537.91035047992114</c:v>
                </c:pt>
                <c:pt idx="73">
                  <c:v>550.5787824623244</c:v>
                </c:pt>
                <c:pt idx="74">
                  <c:v>563.18636419132076</c:v>
                </c:pt>
                <c:pt idx="75">
                  <c:v>575.72303906490311</c:v>
                </c:pt>
                <c:pt idx="76">
                  <c:v>588.17897301376411</c:v>
                </c:pt>
                <c:pt idx="77">
                  <c:v>600.5445685960749</c:v>
                </c:pt>
                <c:pt idx="78">
                  <c:v>612.81050607815882</c:v>
                </c:pt>
                <c:pt idx="79">
                  <c:v>624.96777585859263</c:v>
                </c:pt>
                <c:pt idx="80">
                  <c:v>637.00771412234189</c:v>
                </c:pt>
                <c:pt idx="81">
                  <c:v>648.92202213536393</c:v>
                </c:pt>
                <c:pt idx="82">
                  <c:v>660.70276472912417</c:v>
                </c:pt>
                <c:pt idx="83">
                  <c:v>672.34238863382973</c:v>
                </c:pt>
                <c:pt idx="84">
                  <c:v>683.83373492675116</c:v>
                </c:pt>
                <c:pt idx="85">
                  <c:v>695.17005067910804</c:v>
                </c:pt>
                <c:pt idx="86">
                  <c:v>706.34499569663831</c:v>
                </c:pt>
                <c:pt idx="87">
                  <c:v>717.35265551336363</c:v>
                </c:pt>
                <c:pt idx="88">
                  <c:v>728.1875509454992</c:v>
                </c:pt>
                <c:pt idx="89">
                  <c:v>738.84463748919097</c:v>
                </c:pt>
                <c:pt idx="90">
                  <c:v>749.31930001412468</c:v>
                </c:pt>
                <c:pt idx="91">
                  <c:v>759.60735495824497</c:v>
                </c:pt>
                <c:pt idx="92">
                  <c:v>769.70504731759206</c:v>
                </c:pt>
                <c:pt idx="93">
                  <c:v>779.6090469318666</c:v>
                </c:pt>
                <c:pt idx="94">
                  <c:v>789.31644234830503</c:v>
                </c:pt>
                <c:pt idx="95">
                  <c:v>798.82474948894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1.55586108644917</c:v>
                </c:pt>
                <c:pt idx="43">
                  <c:v>191.40773162964524</c:v>
                </c:pt>
                <c:pt idx="44">
                  <c:v>201.53398677825476</c:v>
                </c:pt>
                <c:pt idx="45">
                  <c:v>211.8877112934033</c:v>
                </c:pt>
                <c:pt idx="46">
                  <c:v>222.68255698195301</c:v>
                </c:pt>
                <c:pt idx="47">
                  <c:v>233.81512077982956</c:v>
                </c:pt>
                <c:pt idx="48">
                  <c:v>245.32268402886473</c:v>
                </c:pt>
                <c:pt idx="49">
                  <c:v>257.130386498132</c:v>
                </c:pt>
                <c:pt idx="50">
                  <c:v>269.21752429319531</c:v>
                </c:pt>
                <c:pt idx="51">
                  <c:v>281.60145006980542</c:v>
                </c:pt>
                <c:pt idx="52">
                  <c:v>294.26699364712152</c:v>
                </c:pt>
                <c:pt idx="53">
                  <c:v>307.27594795179039</c:v>
                </c:pt>
                <c:pt idx="54">
                  <c:v>320.58054362189591</c:v>
                </c:pt>
                <c:pt idx="55">
                  <c:v>334.16894139051431</c:v>
                </c:pt>
                <c:pt idx="56">
                  <c:v>348.02670512380473</c:v>
                </c:pt>
                <c:pt idx="57">
                  <c:v>362.15288759997259</c:v>
                </c:pt>
                <c:pt idx="58">
                  <c:v>376.52996824617685</c:v>
                </c:pt>
                <c:pt idx="59">
                  <c:v>391.13839990959355</c:v>
                </c:pt>
                <c:pt idx="60">
                  <c:v>405.97150008276878</c:v>
                </c:pt>
                <c:pt idx="61">
                  <c:v>421.0575520460626</c:v>
                </c:pt>
                <c:pt idx="62">
                  <c:v>436.36408355763666</c:v>
                </c:pt>
                <c:pt idx="63">
                  <c:v>451.87459294888072</c:v>
                </c:pt>
                <c:pt idx="64">
                  <c:v>467.57587386882267</c:v>
                </c:pt>
                <c:pt idx="65">
                  <c:v>483.45416536366815</c:v>
                </c:pt>
                <c:pt idx="66">
                  <c:v>499.49525806903665</c:v>
                </c:pt>
                <c:pt idx="67">
                  <c:v>515.68412698215866</c:v>
                </c:pt>
                <c:pt idx="68">
                  <c:v>532.00504434877007</c:v>
                </c:pt>
                <c:pt idx="69">
                  <c:v>548.4416399801371</c:v>
                </c:pt>
                <c:pt idx="70">
                  <c:v>564.97697891931159</c:v>
                </c:pt>
                <c:pt idx="71">
                  <c:v>581.59361269223359</c:v>
                </c:pt>
                <c:pt idx="72">
                  <c:v>598.2738304850534</c:v>
                </c:pt>
                <c:pt idx="73">
                  <c:v>614.99974793002184</c:v>
                </c:pt>
                <c:pt idx="74">
                  <c:v>631.75333249267646</c:v>
                </c:pt>
                <c:pt idx="75">
                  <c:v>648.51643480078974</c:v>
                </c:pt>
                <c:pt idx="76">
                  <c:v>665.27088871274862</c:v>
                </c:pt>
                <c:pt idx="77">
                  <c:v>681.99856777352534</c:v>
                </c:pt>
                <c:pt idx="78">
                  <c:v>698.68148022413425</c:v>
                </c:pt>
                <c:pt idx="79">
                  <c:v>715.3018527006036</c:v>
                </c:pt>
                <c:pt idx="80">
                  <c:v>731.84221963597884</c:v>
                </c:pt>
                <c:pt idx="81">
                  <c:v>748.28548933761726</c:v>
                </c:pt>
                <c:pt idx="82">
                  <c:v>764.61498131009955</c:v>
                </c:pt>
                <c:pt idx="83">
                  <c:v>780.81449043128885</c:v>
                </c:pt>
                <c:pt idx="84">
                  <c:v>796.86834130954992</c:v>
                </c:pt>
                <c:pt idx="85">
                  <c:v>812.7614403968231</c:v>
                </c:pt>
                <c:pt idx="86">
                  <c:v>828.47931931316987</c:v>
                </c:pt>
                <c:pt idx="87">
                  <c:v>844.00818521039628</c:v>
                </c:pt>
                <c:pt idx="88">
                  <c:v>859.33496383485237</c:v>
                </c:pt>
                <c:pt idx="89">
                  <c:v>874.44732629665475</c:v>
                </c:pt>
                <c:pt idx="90">
                  <c:v>889.33370685644354</c:v>
                </c:pt>
                <c:pt idx="91">
                  <c:v>903.983328448375</c:v>
                </c:pt>
                <c:pt idx="92">
                  <c:v>918.38621825745383</c:v>
                </c:pt>
                <c:pt idx="93">
                  <c:v>932.53321958993502</c:v>
                </c:pt>
                <c:pt idx="94">
                  <c:v>946.41599763767613</c:v>
                </c:pt>
                <c:pt idx="95">
                  <c:v>960.02704583025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1.69030537902051</c:v>
                </c:pt>
                <c:pt idx="43">
                  <c:v>191.73966012530389</c:v>
                </c:pt>
                <c:pt idx="44">
                  <c:v>202.13751794195844</c:v>
                </c:pt>
                <c:pt idx="45">
                  <c:v>212.84811632552191</c:v>
                </c:pt>
                <c:pt idx="46">
                  <c:v>224.09597346918019</c:v>
                </c:pt>
                <c:pt idx="47">
                  <c:v>235.78896739497139</c:v>
                </c:pt>
                <c:pt idx="48">
                  <c:v>247.97480913480217</c:v>
                </c:pt>
                <c:pt idx="49">
                  <c:v>260.58865400862214</c:v>
                </c:pt>
                <c:pt idx="50">
                  <c:v>273.61917988488631</c:v>
                </c:pt>
                <c:pt idx="51">
                  <c:v>287.09222237369329</c:v>
                </c:pt>
                <c:pt idx="52">
                  <c:v>301.00052538870477</c:v>
                </c:pt>
                <c:pt idx="53">
                  <c:v>315.41296914266388</c:v>
                </c:pt>
                <c:pt idx="54">
                  <c:v>330.28880642676933</c:v>
                </c:pt>
                <c:pt idx="55">
                  <c:v>345.62207454599161</c:v>
                </c:pt>
                <c:pt idx="56">
                  <c:v>361.40330516217739</c:v>
                </c:pt>
                <c:pt idx="57">
                  <c:v>377.63566840115408</c:v>
                </c:pt>
                <c:pt idx="58">
                  <c:v>394.30501223647912</c:v>
                </c:pt>
                <c:pt idx="59">
                  <c:v>411.3943129035535</c:v>
                </c:pt>
                <c:pt idx="60">
                  <c:v>428.89848357322046</c:v>
                </c:pt>
                <c:pt idx="61">
                  <c:v>446.84645381273612</c:v>
                </c:pt>
                <c:pt idx="62">
                  <c:v>465.20568388418724</c:v>
                </c:pt>
                <c:pt idx="63">
                  <c:v>483.95845920287434</c:v>
                </c:pt>
                <c:pt idx="64">
                  <c:v>503.08925315656336</c:v>
                </c:pt>
                <c:pt idx="65">
                  <c:v>522.58103430825508</c:v>
                </c:pt>
                <c:pt idx="66">
                  <c:v>542.41540030177703</c:v>
                </c:pt>
                <c:pt idx="67">
                  <c:v>562.57208516377455</c:v>
                </c:pt>
                <c:pt idx="68">
                  <c:v>583.02911428877383</c:v>
                </c:pt>
                <c:pt idx="69">
                  <c:v>603.76288972758698</c:v>
                </c:pt>
                <c:pt idx="70">
                  <c:v>624.74830879104991</c:v>
                </c:pt>
                <c:pt idx="71">
                  <c:v>645.95885182882353</c:v>
                </c:pt>
                <c:pt idx="72">
                  <c:v>667.36695330853627</c:v>
                </c:pt>
                <c:pt idx="73">
                  <c:v>688.94415760811069</c:v>
                </c:pt>
                <c:pt idx="74">
                  <c:v>710.66119784039938</c:v>
                </c:pt>
                <c:pt idx="75">
                  <c:v>732.48809171383709</c:v>
                </c:pt>
                <c:pt idx="76">
                  <c:v>754.39433473334418</c:v>
                </c:pt>
                <c:pt idx="77">
                  <c:v>776.34903908680553</c:v>
                </c:pt>
                <c:pt idx="78">
                  <c:v>798.32112819940846</c:v>
                </c:pt>
                <c:pt idx="79">
                  <c:v>820.27951872225333</c:v>
                </c:pt>
                <c:pt idx="80">
                  <c:v>842.19331302472006</c:v>
                </c:pt>
                <c:pt idx="81">
                  <c:v>864.03196055157662</c:v>
                </c:pt>
                <c:pt idx="82">
                  <c:v>885.76538087129177</c:v>
                </c:pt>
                <c:pt idx="83">
                  <c:v>907.36412164317755</c:v>
                </c:pt>
                <c:pt idx="84">
                  <c:v>928.79950070144491</c:v>
                </c:pt>
                <c:pt idx="85">
                  <c:v>950.04374237690388</c:v>
                </c:pt>
                <c:pt idx="86">
                  <c:v>971.07009795457941</c:v>
                </c:pt>
                <c:pt idx="87">
                  <c:v>991.85297130270624</c:v>
                </c:pt>
                <c:pt idx="88">
                  <c:v>1012.3680293014492</c:v>
                </c:pt>
                <c:pt idx="89">
                  <c:v>1032.5922849719896</c:v>
                </c:pt>
                <c:pt idx="90">
                  <c:v>1052.5041626280756</c:v>
                </c:pt>
                <c:pt idx="91">
                  <c:v>1072.0835671684658</c:v>
                </c:pt>
                <c:pt idx="92">
                  <c:v>1091.311933640286</c:v>
                </c:pt>
                <c:pt idx="93">
                  <c:v>1110.1722654818873</c:v>
                </c:pt>
                <c:pt idx="94">
                  <c:v>1128.6491582678634</c:v>
                </c:pt>
                <c:pt idx="95">
                  <c:v>1146.7288182426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11</c:v>
                </c:pt>
                <c:pt idx="17">
                  <c:v>11</c:v>
                </c:pt>
                <c:pt idx="18">
                  <c:v>11</c:v>
                </c:pt>
                <c:pt idx="19">
                  <c:v>14</c:v>
                </c:pt>
                <c:pt idx="20">
                  <c:v>15</c:v>
                </c:pt>
                <c:pt idx="21">
                  <c:v>18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  <c:pt idx="26">
                  <c:v>17</c:v>
                </c:pt>
                <c:pt idx="27">
                  <c:v>15</c:v>
                </c:pt>
                <c:pt idx="28">
                  <c:v>14</c:v>
                </c:pt>
                <c:pt idx="29">
                  <c:v>6</c:v>
                </c:pt>
                <c:pt idx="30">
                  <c:v>14</c:v>
                </c:pt>
                <c:pt idx="31">
                  <c:v>18</c:v>
                </c:pt>
                <c:pt idx="32">
                  <c:v>17</c:v>
                </c:pt>
                <c:pt idx="33">
                  <c:v>17</c:v>
                </c:pt>
                <c:pt idx="34">
                  <c:v>15</c:v>
                </c:pt>
                <c:pt idx="35">
                  <c:v>21</c:v>
                </c:pt>
                <c:pt idx="36">
                  <c:v>19</c:v>
                </c:pt>
                <c:pt idx="37">
                  <c:v>23</c:v>
                </c:pt>
                <c:pt idx="38">
                  <c:v>26</c:v>
                </c:pt>
                <c:pt idx="39">
                  <c:v>30</c:v>
                </c:pt>
                <c:pt idx="40">
                  <c:v>35</c:v>
                </c:pt>
                <c:pt idx="41">
                  <c:v>34</c:v>
                </c:pt>
                <c:pt idx="42">
                  <c:v>34</c:v>
                </c:pt>
                <c:pt idx="43">
                  <c:v>36</c:v>
                </c:pt>
                <c:pt idx="44">
                  <c:v>42</c:v>
                </c:pt>
                <c:pt idx="45">
                  <c:v>49</c:v>
                </c:pt>
                <c:pt idx="46">
                  <c:v>50</c:v>
                </c:pt>
                <c:pt idx="47">
                  <c:v>48</c:v>
                </c:pt>
                <c:pt idx="48">
                  <c:v>53</c:v>
                </c:pt>
                <c:pt idx="49">
                  <c:v>49</c:v>
                </c:pt>
                <c:pt idx="5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9.891043347091795</c:v>
                </c:pt>
                <c:pt idx="43">
                  <c:v>41.957363226890465</c:v>
                </c:pt>
                <c:pt idx="44">
                  <c:v>43.960618112054917</c:v>
                </c:pt>
                <c:pt idx="45">
                  <c:v>45.856271634875903</c:v>
                </c:pt>
                <c:pt idx="46">
                  <c:v>47.730827660955711</c:v>
                </c:pt>
                <c:pt idx="47">
                  <c:v>49.614532515631154</c:v>
                </c:pt>
                <c:pt idx="48">
                  <c:v>51.461504683394935</c:v>
                </c:pt>
                <c:pt idx="49">
                  <c:v>53.249263984474098</c:v>
                </c:pt>
                <c:pt idx="50">
                  <c:v>54.872042293213894</c:v>
                </c:pt>
                <c:pt idx="51">
                  <c:v>56.461741355994853</c:v>
                </c:pt>
                <c:pt idx="52">
                  <c:v>58.001961080770627</c:v>
                </c:pt>
                <c:pt idx="53">
                  <c:v>59.524717894221951</c:v>
                </c:pt>
                <c:pt idx="54">
                  <c:v>60.913901165899844</c:v>
                </c:pt>
                <c:pt idx="55">
                  <c:v>62.234392027126788</c:v>
                </c:pt>
                <c:pt idx="56">
                  <c:v>63.536742994980202</c:v>
                </c:pt>
                <c:pt idx="57">
                  <c:v>64.756879656282266</c:v>
                </c:pt>
                <c:pt idx="58">
                  <c:v>65.906364735349158</c:v>
                </c:pt>
                <c:pt idx="59">
                  <c:v>66.981790183855409</c:v>
                </c:pt>
                <c:pt idx="60">
                  <c:v>68.023964273810549</c:v>
                </c:pt>
                <c:pt idx="61">
                  <c:v>68.983404815211912</c:v>
                </c:pt>
                <c:pt idx="62">
                  <c:v>69.862719482801111</c:v>
                </c:pt>
                <c:pt idx="63">
                  <c:v>70.681490132265381</c:v>
                </c:pt>
                <c:pt idx="64">
                  <c:v>71.455634265883504</c:v>
                </c:pt>
                <c:pt idx="65">
                  <c:v>72.147930945988477</c:v>
                </c:pt>
                <c:pt idx="66">
                  <c:v>72.764179627176389</c:v>
                </c:pt>
                <c:pt idx="67">
                  <c:v>73.317803629743537</c:v>
                </c:pt>
                <c:pt idx="68">
                  <c:v>73.81225721934581</c:v>
                </c:pt>
                <c:pt idx="69">
                  <c:v>74.243272205980247</c:v>
                </c:pt>
                <c:pt idx="70">
                  <c:v>74.607449979257325</c:v>
                </c:pt>
                <c:pt idx="71">
                  <c:v>74.916854391498759</c:v>
                </c:pt>
                <c:pt idx="72">
                  <c:v>75.158619662031953</c:v>
                </c:pt>
                <c:pt idx="73">
                  <c:v>75.333529366959084</c:v>
                </c:pt>
                <c:pt idx="74">
                  <c:v>75.434510834073222</c:v>
                </c:pt>
                <c:pt idx="75">
                  <c:v>75.472772336748562</c:v>
                </c:pt>
                <c:pt idx="76">
                  <c:v>75.448741033260589</c:v>
                </c:pt>
                <c:pt idx="77">
                  <c:v>75.362302552991764</c:v>
                </c:pt>
                <c:pt idx="78">
                  <c:v>75.211004106318072</c:v>
                </c:pt>
                <c:pt idx="79">
                  <c:v>74.993247399476587</c:v>
                </c:pt>
                <c:pt idx="80">
                  <c:v>74.712663507702828</c:v>
                </c:pt>
                <c:pt idx="81">
                  <c:v>74.371164381405379</c:v>
                </c:pt>
                <c:pt idx="82">
                  <c:v>73.969479029865653</c:v>
                </c:pt>
                <c:pt idx="83">
                  <c:v>73.507751123416057</c:v>
                </c:pt>
                <c:pt idx="84">
                  <c:v>72.987998130114491</c:v>
                </c:pt>
                <c:pt idx="85">
                  <c:v>72.412095151581639</c:v>
                </c:pt>
                <c:pt idx="86">
                  <c:v>71.781992273731305</c:v>
                </c:pt>
                <c:pt idx="87">
                  <c:v>71.099325470324487</c:v>
                </c:pt>
                <c:pt idx="88">
                  <c:v>70.366293081229799</c:v>
                </c:pt>
                <c:pt idx="89">
                  <c:v>69.584849553519518</c:v>
                </c:pt>
                <c:pt idx="90">
                  <c:v>68.756828932741513</c:v>
                </c:pt>
                <c:pt idx="91">
                  <c:v>67.884501893447919</c:v>
                </c:pt>
                <c:pt idx="92">
                  <c:v>66.970395446360101</c:v>
                </c:pt>
                <c:pt idx="93">
                  <c:v>66.016936792956244</c:v>
                </c:pt>
                <c:pt idx="94">
                  <c:v>65.026514265210352</c:v>
                </c:pt>
                <c:pt idx="95">
                  <c:v>64.001611104947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9.970252548662089</c:v>
                </c:pt>
                <c:pt idx="43">
                  <c:v>42.147488672041916</c:v>
                </c:pt>
                <c:pt idx="44">
                  <c:v>44.297251319761898</c:v>
                </c:pt>
                <c:pt idx="45">
                  <c:v>46.378439823472327</c:v>
                </c:pt>
                <c:pt idx="46">
                  <c:v>48.479771563565912</c:v>
                </c:pt>
                <c:pt idx="47">
                  <c:v>50.634994582450332</c:v>
                </c:pt>
                <c:pt idx="48">
                  <c:v>52.798906447921439</c:v>
                </c:pt>
                <c:pt idx="49">
                  <c:v>54.950616654834086</c:v>
                </c:pt>
                <c:pt idx="50">
                  <c:v>56.984249047015112</c:v>
                </c:pt>
                <c:pt idx="51">
                  <c:v>59.03206865864442</c:v>
                </c:pt>
                <c:pt idx="52">
                  <c:v>61.077203221021385</c:v>
                </c:pt>
                <c:pt idx="53">
                  <c:v>63.150308583055754</c:v>
                </c:pt>
                <c:pt idx="54">
                  <c:v>65.134104949496432</c:v>
                </c:pt>
                <c:pt idx="55">
                  <c:v>67.091336572304485</c:v>
                </c:pt>
                <c:pt idx="56">
                  <c:v>69.07072001342074</c:v>
                </c:pt>
                <c:pt idx="57">
                  <c:v>71.00556015913844</c:v>
                </c:pt>
                <c:pt idx="58">
                  <c:v>72.904493409176695</c:v>
                </c:pt>
                <c:pt idx="59">
                  <c:v>74.759603289320879</c:v>
                </c:pt>
                <c:pt idx="60">
                  <c:v>76.609045069192348</c:v>
                </c:pt>
                <c:pt idx="61">
                  <c:v>78.398741133019087</c:v>
                </c:pt>
                <c:pt idx="62">
                  <c:v>80.127905648826697</c:v>
                </c:pt>
                <c:pt idx="63">
                  <c:v>81.812835888600006</c:v>
                </c:pt>
                <c:pt idx="64">
                  <c:v>83.465300838308195</c:v>
                </c:pt>
                <c:pt idx="65">
                  <c:v>85.043858742277848</c:v>
                </c:pt>
                <c:pt idx="66">
                  <c:v>86.550476745210233</c:v>
                </c:pt>
                <c:pt idx="67">
                  <c:v>87.995162255683482</c:v>
                </c:pt>
                <c:pt idx="68">
                  <c:v>89.377529147710021</c:v>
                </c:pt>
                <c:pt idx="69">
                  <c:v>90.689509885294811</c:v>
                </c:pt>
                <c:pt idx="70">
                  <c:v>91.923782225884281</c:v>
                </c:pt>
                <c:pt idx="71">
                  <c:v>93.088592687471291</c:v>
                </c:pt>
                <c:pt idx="72">
                  <c:v>94.167144717319246</c:v>
                </c:pt>
                <c:pt idx="73">
                  <c:v>95.156815138222697</c:v>
                </c:pt>
                <c:pt idx="74">
                  <c:v>96.047096681742644</c:v>
                </c:pt>
                <c:pt idx="75">
                  <c:v>96.846163832005274</c:v>
                </c:pt>
                <c:pt idx="76">
                  <c:v>97.551421222234694</c:v>
                </c:pt>
                <c:pt idx="77">
                  <c:v>98.159920415168756</c:v>
                </c:pt>
                <c:pt idx="78">
                  <c:v>98.666319954529996</c:v>
                </c:pt>
                <c:pt idx="79">
                  <c:v>99.066496000623019</c:v>
                </c:pt>
                <c:pt idx="80">
                  <c:v>99.362035640780874</c:v>
                </c:pt>
                <c:pt idx="81">
                  <c:v>99.552894013140047</c:v>
                </c:pt>
                <c:pt idx="82">
                  <c:v>99.638096795642795</c:v>
                </c:pt>
                <c:pt idx="83">
                  <c:v>99.616342603595115</c:v>
                </c:pt>
                <c:pt idx="84">
                  <c:v>99.488462033359411</c:v>
                </c:pt>
                <c:pt idx="85">
                  <c:v>99.255410643305964</c:v>
                </c:pt>
                <c:pt idx="86">
                  <c:v>98.918484289490806</c:v>
                </c:pt>
                <c:pt idx="87">
                  <c:v>98.478930681816109</c:v>
                </c:pt>
                <c:pt idx="88">
                  <c:v>97.938820187644495</c:v>
                </c:pt>
                <c:pt idx="89">
                  <c:v>97.300232435187283</c:v>
                </c:pt>
                <c:pt idx="90">
                  <c:v>96.565368920740212</c:v>
                </c:pt>
                <c:pt idx="91">
                  <c:v>95.737100537233758</c:v>
                </c:pt>
                <c:pt idx="92">
                  <c:v>94.818778608132789</c:v>
                </c:pt>
                <c:pt idx="93">
                  <c:v>93.81386666242517</c:v>
                </c:pt>
                <c:pt idx="94">
                  <c:v>92.725986174255922</c:v>
                </c:pt>
                <c:pt idx="95">
                  <c:v>91.559029057734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0.049911175876929</c:v>
                </c:pt>
                <c:pt idx="43">
                  <c:v>42.339248019947384</c:v>
                </c:pt>
                <c:pt idx="44">
                  <c:v>44.637954588813955</c:v>
                </c:pt>
                <c:pt idx="45">
                  <c:v>46.909002052600954</c:v>
                </c:pt>
                <c:pt idx="46">
                  <c:v>49.244056522262753</c:v>
                </c:pt>
                <c:pt idx="47">
                  <c:v>51.681194419943907</c:v>
                </c:pt>
                <c:pt idx="48">
                  <c:v>54.176781069149243</c:v>
                </c:pt>
                <c:pt idx="49">
                  <c:v>56.712460820397304</c:v>
                </c:pt>
                <c:pt idx="50">
                  <c:v>59.183221428938509</c:v>
                </c:pt>
                <c:pt idx="51">
                  <c:v>61.722677632953356</c:v>
                </c:pt>
                <c:pt idx="52">
                  <c:v>64.314459771417162</c:v>
                </c:pt>
                <c:pt idx="53">
                  <c:v>66.988796865118658</c:v>
                </c:pt>
                <c:pt idx="54">
                  <c:v>69.628111473401617</c:v>
                </c:pt>
                <c:pt idx="55">
                  <c:v>72.293793878435508</c:v>
                </c:pt>
                <c:pt idx="56">
                  <c:v>75.033410831154839</c:v>
                </c:pt>
                <c:pt idx="57">
                  <c:v>77.778207115488726</c:v>
                </c:pt>
                <c:pt idx="58">
                  <c:v>80.534315590086294</c:v>
                </c:pt>
                <c:pt idx="59">
                  <c:v>83.289572230098969</c:v>
                </c:pt>
                <c:pt idx="60">
                  <c:v>86.079565660116273</c:v>
                </c:pt>
                <c:pt idx="61">
                  <c:v>88.845511238535408</c:v>
                </c:pt>
                <c:pt idx="62">
                  <c:v>91.582916322879157</c:v>
                </c:pt>
                <c:pt idx="63">
                  <c:v>94.304275507568548</c:v>
                </c:pt>
                <c:pt idx="64">
                  <c:v>97.0164819618563</c:v>
                </c:pt>
                <c:pt idx="65">
                  <c:v>99.67295335835442</c:v>
                </c:pt>
                <c:pt idx="66">
                  <c:v>102.27071950661761</c:v>
                </c:pt>
                <c:pt idx="67">
                  <c:v>104.81507553629206</c:v>
                </c:pt>
                <c:pt idx="68">
                  <c:v>107.30032055274634</c:v>
                </c:pt>
                <c:pt idx="69">
                  <c:v>109.71295169002263</c:v>
                </c:pt>
                <c:pt idx="70">
                  <c:v>112.03994402743636</c:v>
                </c:pt>
                <c:pt idx="71">
                  <c:v>114.28382518015519</c:v>
                </c:pt>
                <c:pt idx="72">
                  <c:v>116.42187249607485</c:v>
                </c:pt>
                <c:pt idx="73">
                  <c:v>118.44599387910833</c:v>
                </c:pt>
                <c:pt idx="74">
                  <c:v>120.34014125462272</c:v>
                </c:pt>
                <c:pt idx="75">
                  <c:v>122.10733281248807</c:v>
                </c:pt>
                <c:pt idx="76">
                  <c:v>123.73984014747356</c:v>
                </c:pt>
                <c:pt idx="77">
                  <c:v>125.22981053292899</c:v>
                </c:pt>
                <c:pt idx="78">
                  <c:v>126.56701122685993</c:v>
                </c:pt>
                <c:pt idx="79">
                  <c:v>127.74288592287198</c:v>
                </c:pt>
                <c:pt idx="80">
                  <c:v>128.75519353431793</c:v>
                </c:pt>
                <c:pt idx="81">
                  <c:v>129.60029355746593</c:v>
                </c:pt>
                <c:pt idx="82">
                  <c:v>130.27403563126603</c:v>
                </c:pt>
                <c:pt idx="83">
                  <c:v>130.77238586057928</c:v>
                </c:pt>
                <c:pt idx="84">
                  <c:v>131.0939018395716</c:v>
                </c:pt>
                <c:pt idx="85">
                  <c:v>131.2377475080508</c:v>
                </c:pt>
                <c:pt idx="86">
                  <c:v>131.20391618183538</c:v>
                </c:pt>
                <c:pt idx="87">
                  <c:v>130.99284930941445</c:v>
                </c:pt>
                <c:pt idx="88">
                  <c:v>130.60630446426072</c:v>
                </c:pt>
                <c:pt idx="89">
                  <c:v>130.04653394525448</c:v>
                </c:pt>
                <c:pt idx="90">
                  <c:v>129.31638247962454</c:v>
                </c:pt>
                <c:pt idx="91">
                  <c:v>128.41981847868146</c:v>
                </c:pt>
                <c:pt idx="92">
                  <c:v>127.36172643084586</c:v>
                </c:pt>
                <c:pt idx="93">
                  <c:v>126.14751408337938</c:v>
                </c:pt>
                <c:pt idx="94">
                  <c:v>124.78312804592048</c:v>
                </c:pt>
                <c:pt idx="95">
                  <c:v>123.27513432569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5</c:v>
                </c:pt>
                <c:pt idx="16">
                  <c:v>4</c:v>
                </c:pt>
                <c:pt idx="17">
                  <c:v>5</c:v>
                </c:pt>
                <c:pt idx="18">
                  <c:v>6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5</c:v>
                </c:pt>
                <c:pt idx="25">
                  <c:v>5</c:v>
                </c:pt>
                <c:pt idx="26">
                  <c:v>6</c:v>
                </c:pt>
                <c:pt idx="27">
                  <c:v>7</c:v>
                </c:pt>
                <c:pt idx="28">
                  <c:v>9</c:v>
                </c:pt>
                <c:pt idx="29">
                  <c:v>7</c:v>
                </c:pt>
                <c:pt idx="30">
                  <c:v>14</c:v>
                </c:pt>
                <c:pt idx="31">
                  <c:v>19</c:v>
                </c:pt>
                <c:pt idx="32">
                  <c:v>19</c:v>
                </c:pt>
                <c:pt idx="33">
                  <c:v>22</c:v>
                </c:pt>
                <c:pt idx="34">
                  <c:v>23</c:v>
                </c:pt>
                <c:pt idx="35">
                  <c:v>25</c:v>
                </c:pt>
                <c:pt idx="36">
                  <c:v>27</c:v>
                </c:pt>
                <c:pt idx="37">
                  <c:v>28</c:v>
                </c:pt>
                <c:pt idx="38">
                  <c:v>34</c:v>
                </c:pt>
                <c:pt idx="39">
                  <c:v>35</c:v>
                </c:pt>
                <c:pt idx="40">
                  <c:v>34</c:v>
                </c:pt>
                <c:pt idx="41">
                  <c:v>29</c:v>
                </c:pt>
                <c:pt idx="42">
                  <c:v>28</c:v>
                </c:pt>
                <c:pt idx="43">
                  <c:v>35</c:v>
                </c:pt>
                <c:pt idx="44">
                  <c:v>37</c:v>
                </c:pt>
                <c:pt idx="45">
                  <c:v>42</c:v>
                </c:pt>
                <c:pt idx="46">
                  <c:v>45</c:v>
                </c:pt>
                <c:pt idx="47">
                  <c:v>45</c:v>
                </c:pt>
                <c:pt idx="48">
                  <c:v>44</c:v>
                </c:pt>
                <c:pt idx="49">
                  <c:v>44</c:v>
                </c:pt>
                <c:pt idx="50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489816598905321</c:v>
                </c:pt>
                <c:pt idx="43">
                  <c:v>34.210783249169538</c:v>
                </c:pt>
                <c:pt idx="44">
                  <c:v>35.875103650543146</c:v>
                </c:pt>
                <c:pt idx="45">
                  <c:v>37.465248579983381</c:v>
                </c:pt>
                <c:pt idx="46">
                  <c:v>39.045318930868078</c:v>
                </c:pt>
                <c:pt idx="47">
                  <c:v>40.638078297673573</c:v>
                </c:pt>
                <c:pt idx="48">
                  <c:v>42.186952064767098</c:v>
                </c:pt>
                <c:pt idx="49">
                  <c:v>43.691985934074168</c:v>
                </c:pt>
                <c:pt idx="50">
                  <c:v>45.078772002400498</c:v>
                </c:pt>
                <c:pt idx="51">
                  <c:v>46.424581474095689</c:v>
                </c:pt>
                <c:pt idx="52">
                  <c:v>47.716473211219494</c:v>
                </c:pt>
                <c:pt idx="53">
                  <c:v>48.990787116996898</c:v>
                </c:pt>
                <c:pt idx="54">
                  <c:v>50.169441107585328</c:v>
                </c:pt>
                <c:pt idx="55">
                  <c:v>51.278743243955233</c:v>
                </c:pt>
                <c:pt idx="56">
                  <c:v>52.363663274130431</c:v>
                </c:pt>
                <c:pt idx="57">
                  <c:v>53.37757144936969</c:v>
                </c:pt>
                <c:pt idx="58">
                  <c:v>54.33712637157619</c:v>
                </c:pt>
                <c:pt idx="59">
                  <c:v>55.228272797391853</c:v>
                </c:pt>
                <c:pt idx="60">
                  <c:v>56.076644594410382</c:v>
                </c:pt>
                <c:pt idx="61">
                  <c:v>56.864375651748489</c:v>
                </c:pt>
                <c:pt idx="62">
                  <c:v>57.582152630061437</c:v>
                </c:pt>
                <c:pt idx="63">
                  <c:v>58.251350740652725</c:v>
                </c:pt>
                <c:pt idx="64">
                  <c:v>58.876182745433844</c:v>
                </c:pt>
                <c:pt idx="65">
                  <c:v>59.434180364190453</c:v>
                </c:pt>
                <c:pt idx="66">
                  <c:v>59.927469691601821</c:v>
                </c:pt>
                <c:pt idx="67">
                  <c:v>60.365604657715792</c:v>
                </c:pt>
                <c:pt idx="68">
                  <c:v>60.754161209020637</c:v>
                </c:pt>
                <c:pt idx="69">
                  <c:v>61.091126729191686</c:v>
                </c:pt>
                <c:pt idx="70">
                  <c:v>61.373348452194399</c:v>
                </c:pt>
                <c:pt idx="71">
                  <c:v>61.607382981102248</c:v>
                </c:pt>
                <c:pt idx="72">
                  <c:v>61.784439942769957</c:v>
                </c:pt>
                <c:pt idx="73">
                  <c:v>61.906648870655722</c:v>
                </c:pt>
                <c:pt idx="74">
                  <c:v>61.968035649797514</c:v>
                </c:pt>
                <c:pt idx="75">
                  <c:v>61.978066810655967</c:v>
                </c:pt>
                <c:pt idx="76">
                  <c:v>61.937717912769081</c:v>
                </c:pt>
                <c:pt idx="77">
                  <c:v>61.846563438802647</c:v>
                </c:pt>
                <c:pt idx="78">
                  <c:v>61.702285250669767</c:v>
                </c:pt>
                <c:pt idx="79">
                  <c:v>61.503198232958617</c:v>
                </c:pt>
                <c:pt idx="80">
                  <c:v>61.253045248104911</c:v>
                </c:pt>
                <c:pt idx="81">
                  <c:v>60.953474342608857</c:v>
                </c:pt>
                <c:pt idx="82">
                  <c:v>60.60510117739048</c:v>
                </c:pt>
                <c:pt idx="83">
                  <c:v>60.208012018104014</c:v>
                </c:pt>
                <c:pt idx="84">
                  <c:v>59.76399985080463</c:v>
                </c:pt>
                <c:pt idx="85">
                  <c:v>59.274677070314489</c:v>
                </c:pt>
                <c:pt idx="86">
                  <c:v>58.741716754100835</c:v>
                </c:pt>
                <c:pt idx="87">
                  <c:v>58.166552140924708</c:v>
                </c:pt>
                <c:pt idx="88">
                  <c:v>57.55107205829529</c:v>
                </c:pt>
                <c:pt idx="89">
                  <c:v>56.896882418356725</c:v>
                </c:pt>
                <c:pt idx="90">
                  <c:v>56.205421103499717</c:v>
                </c:pt>
                <c:pt idx="91">
                  <c:v>55.478595532485798</c:v>
                </c:pt>
                <c:pt idx="92">
                  <c:v>54.718545554934423</c:v>
                </c:pt>
                <c:pt idx="93">
                  <c:v>53.927288648700248</c:v>
                </c:pt>
                <c:pt idx="94">
                  <c:v>53.106786045907349</c:v>
                </c:pt>
                <c:pt idx="95">
                  <c:v>52.259085127638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557591903743955</c:v>
                </c:pt>
                <c:pt idx="43">
                  <c:v>34.373440768361348</c:v>
                </c:pt>
                <c:pt idx="44">
                  <c:v>36.162696983182045</c:v>
                </c:pt>
                <c:pt idx="45">
                  <c:v>37.910585684000253</c:v>
                </c:pt>
                <c:pt idx="46">
                  <c:v>39.683043462166737</c:v>
                </c:pt>
                <c:pt idx="47">
                  <c:v>41.505800363831099</c:v>
                </c:pt>
                <c:pt idx="48">
                  <c:v>43.322622634725491</c:v>
                </c:pt>
                <c:pt idx="49">
                  <c:v>45.134701756134234</c:v>
                </c:pt>
                <c:pt idx="50">
                  <c:v>46.867455553140815</c:v>
                </c:pt>
                <c:pt idx="51">
                  <c:v>48.597989369493369</c:v>
                </c:pt>
                <c:pt idx="52">
                  <c:v>50.312937353912496</c:v>
                </c:pt>
                <c:pt idx="53">
                  <c:v>52.047345082481783</c:v>
                </c:pt>
                <c:pt idx="54">
                  <c:v>53.722216218663007</c:v>
                </c:pt>
                <c:pt idx="55">
                  <c:v>55.361760378857994</c:v>
                </c:pt>
                <c:pt idx="56">
                  <c:v>57.009352741059217</c:v>
                </c:pt>
                <c:pt idx="57">
                  <c:v>58.616269715848816</c:v>
                </c:pt>
                <c:pt idx="58">
                  <c:v>60.19654297800929</c:v>
                </c:pt>
                <c:pt idx="59">
                  <c:v>61.732156413305184</c:v>
                </c:pt>
                <c:pt idx="60">
                  <c:v>63.246348461718867</c:v>
                </c:pt>
                <c:pt idx="61">
                  <c:v>64.717576225751998</c:v>
                </c:pt>
                <c:pt idx="62">
                  <c:v>66.133645203648086</c:v>
                </c:pt>
                <c:pt idx="63">
                  <c:v>67.513324187570277</c:v>
                </c:pt>
                <c:pt idx="64">
                  <c:v>68.857138629505556</c:v>
                </c:pt>
                <c:pt idx="65">
                  <c:v>70.139263692619878</c:v>
                </c:pt>
                <c:pt idx="66">
                  <c:v>71.358605371789551</c:v>
                </c:pt>
                <c:pt idx="67">
                  <c:v>72.521969374818738</c:v>
                </c:pt>
                <c:pt idx="68">
                  <c:v>73.631798204243751</c:v>
                </c:pt>
                <c:pt idx="69">
                  <c:v>74.682991446268815</c:v>
                </c:pt>
                <c:pt idx="70">
                  <c:v>75.669250278287436</c:v>
                </c:pt>
                <c:pt idx="71">
                  <c:v>76.593970263229068</c:v>
                </c:pt>
                <c:pt idx="72">
                  <c:v>77.445212319467259</c:v>
                </c:pt>
                <c:pt idx="73">
                  <c:v>78.222428529101364</c:v>
                </c:pt>
                <c:pt idx="74">
                  <c:v>78.916919744418507</c:v>
                </c:pt>
                <c:pt idx="75">
                  <c:v>79.5357241972373</c:v>
                </c:pt>
                <c:pt idx="76">
                  <c:v>80.077430531663566</c:v>
                </c:pt>
                <c:pt idx="77">
                  <c:v>80.539387798489855</c:v>
                </c:pt>
                <c:pt idx="78">
                  <c:v>80.916953019640289</c:v>
                </c:pt>
                <c:pt idx="79">
                  <c:v>81.206448650856174</c:v>
                </c:pt>
                <c:pt idx="80">
                  <c:v>81.410077703995455</c:v>
                </c:pt>
                <c:pt idx="81">
                  <c:v>81.527986465297772</c:v>
                </c:pt>
                <c:pt idx="82">
                  <c:v>81.559497454276368</c:v>
                </c:pt>
                <c:pt idx="83">
                  <c:v>81.503615458450611</c:v>
                </c:pt>
                <c:pt idx="84">
                  <c:v>81.361263109211478</c:v>
                </c:pt>
                <c:pt idx="85">
                  <c:v>81.133401696152248</c:v>
                </c:pt>
                <c:pt idx="86">
                  <c:v>80.821269224852472</c:v>
                </c:pt>
                <c:pt idx="87">
                  <c:v>80.426080065241763</c:v>
                </c:pt>
                <c:pt idx="88">
                  <c:v>79.949715189105049</c:v>
                </c:pt>
                <c:pt idx="89">
                  <c:v>79.393976959538278</c:v>
                </c:pt>
                <c:pt idx="90">
                  <c:v>78.760693496905432</c:v>
                </c:pt>
                <c:pt idx="91">
                  <c:v>78.052347830513781</c:v>
                </c:pt>
                <c:pt idx="92">
                  <c:v>77.27183385265819</c:v>
                </c:pt>
                <c:pt idx="93">
                  <c:v>76.422091394484227</c:v>
                </c:pt>
                <c:pt idx="94">
                  <c:v>75.506159138261523</c:v>
                </c:pt>
                <c:pt idx="95">
                  <c:v>74.527297846712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625751372046018</c:v>
                </c:pt>
                <c:pt idx="43">
                  <c:v>34.537495839750449</c:v>
                </c:pt>
                <c:pt idx="44">
                  <c:v>36.45377080682016</c:v>
                </c:pt>
                <c:pt idx="45">
                  <c:v>38.363096356862869</c:v>
                </c:pt>
                <c:pt idx="46">
                  <c:v>40.333866726127248</c:v>
                </c:pt>
                <c:pt idx="47">
                  <c:v>42.395474462937614</c:v>
                </c:pt>
                <c:pt idx="48">
                  <c:v>44.492770793034509</c:v>
                </c:pt>
                <c:pt idx="49">
                  <c:v>46.628880730986651</c:v>
                </c:pt>
                <c:pt idx="50">
                  <c:v>48.729853300830094</c:v>
                </c:pt>
                <c:pt idx="51">
                  <c:v>50.873437907675012</c:v>
                </c:pt>
                <c:pt idx="52">
                  <c:v>53.046638862741425</c:v>
                </c:pt>
                <c:pt idx="53">
                  <c:v>55.283961820893808</c:v>
                </c:pt>
                <c:pt idx="54">
                  <c:v>57.506193664649217</c:v>
                </c:pt>
                <c:pt idx="55">
                  <c:v>59.736061883731566</c:v>
                </c:pt>
                <c:pt idx="56">
                  <c:v>62.015878617292074</c:v>
                </c:pt>
                <c:pt idx="57">
                  <c:v>64.295249896794544</c:v>
                </c:pt>
                <c:pt idx="58">
                  <c:v>66.585885493381681</c:v>
                </c:pt>
                <c:pt idx="59">
                  <c:v>68.865975631664895</c:v>
                </c:pt>
                <c:pt idx="60">
                  <c:v>71.156382295456751</c:v>
                </c:pt>
                <c:pt idx="61">
                  <c:v>73.431739684197851</c:v>
                </c:pt>
                <c:pt idx="62">
                  <c:v>75.676657397620971</c:v>
                </c:pt>
                <c:pt idx="63">
                  <c:v>77.906814555283859</c:v>
                </c:pt>
                <c:pt idx="64">
                  <c:v>80.118392996543719</c:v>
                </c:pt>
                <c:pt idx="65">
                  <c:v>82.281399858326196</c:v>
                </c:pt>
                <c:pt idx="66">
                  <c:v>84.390560088067986</c:v>
                </c:pt>
                <c:pt idx="67">
                  <c:v>86.448817436468374</c:v>
                </c:pt>
                <c:pt idx="68">
                  <c:v>88.454226555197593</c:v>
                </c:pt>
                <c:pt idx="69">
                  <c:v>90.397218566274219</c:v>
                </c:pt>
                <c:pt idx="70">
                  <c:v>92.266857985776255</c:v>
                </c:pt>
                <c:pt idx="71">
                  <c:v>94.061795625129918</c:v>
                </c:pt>
                <c:pt idx="72">
                  <c:v>95.765292057136691</c:v>
                </c:pt>
                <c:pt idx="73">
                  <c:v>97.372425100773484</c:v>
                </c:pt>
                <c:pt idx="74">
                  <c:v>98.870047600750866</c:v>
                </c:pt>
                <c:pt idx="75">
                  <c:v>100.2610431401051</c:v>
                </c:pt>
                <c:pt idx="76">
                  <c:v>101.53990734120779</c:v>
                </c:pt>
                <c:pt idx="77">
                  <c:v>102.70010108856084</c:v>
                </c:pt>
                <c:pt idx="78">
                  <c:v>103.73305881697354</c:v>
                </c:pt>
                <c:pt idx="79">
                  <c:v>104.63160034410551</c:v>
                </c:pt>
                <c:pt idx="80">
                  <c:v>105.39498801752464</c:v>
                </c:pt>
                <c:pt idx="81">
                  <c:v>106.02059248438127</c:v>
                </c:pt>
                <c:pt idx="82">
                  <c:v>106.50531207687479</c:v>
                </c:pt>
                <c:pt idx="83">
                  <c:v>106.84609648567485</c:v>
                </c:pt>
                <c:pt idx="84">
                  <c:v>107.04219389012211</c:v>
                </c:pt>
                <c:pt idx="85">
                  <c:v>107.09328907927841</c:v>
                </c:pt>
                <c:pt idx="86">
                  <c:v>106.99974492020229</c:v>
                </c:pt>
                <c:pt idx="87">
                  <c:v>106.7623062569161</c:v>
                </c:pt>
                <c:pt idx="88">
                  <c:v>106.38278603544916</c:v>
                </c:pt>
                <c:pt idx="89">
                  <c:v>105.86331137324568</c:v>
                </c:pt>
                <c:pt idx="90">
                  <c:v>105.2064127991658</c:v>
                </c:pt>
                <c:pt idx="91">
                  <c:v>104.41563834476537</c:v>
                </c:pt>
                <c:pt idx="92">
                  <c:v>103.49529332381724</c:v>
                </c:pt>
                <c:pt idx="93">
                  <c:v>102.45005410930139</c:v>
                </c:pt>
                <c:pt idx="94">
                  <c:v>101.28499473976905</c:v>
                </c:pt>
                <c:pt idx="95">
                  <c:v>100.00568294719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5</c:v>
                </c:pt>
                <c:pt idx="44">
                  <c:v>5</c:v>
                </c:pt>
                <c:pt idx="45">
                  <c:v>6</c:v>
                </c:pt>
                <c:pt idx="46">
                  <c:v>5</c:v>
                </c:pt>
                <c:pt idx="47">
                  <c:v>5</c:v>
                </c:pt>
                <c:pt idx="48">
                  <c:v>7</c:v>
                </c:pt>
                <c:pt idx="49">
                  <c:v>8</c:v>
                </c:pt>
                <c:pt idx="5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.4242581216319792</c:v>
                </c:pt>
                <c:pt idx="43">
                  <c:v>4.655469523549435</c:v>
                </c:pt>
                <c:pt idx="44">
                  <c:v>4.879403250143012</c:v>
                </c:pt>
                <c:pt idx="45">
                  <c:v>5.0921249007860991</c:v>
                </c:pt>
                <c:pt idx="46">
                  <c:v>5.3028878231908134</c:v>
                </c:pt>
                <c:pt idx="47">
                  <c:v>5.5149462727121827</c:v>
                </c:pt>
                <c:pt idx="48">
                  <c:v>5.72218177456452</c:v>
                </c:pt>
                <c:pt idx="49">
                  <c:v>5.9230852873780524</c:v>
                </c:pt>
                <c:pt idx="50">
                  <c:v>6.1065555328263352</c:v>
                </c:pt>
                <c:pt idx="51">
                  <c:v>6.2856044577379482</c:v>
                </c:pt>
                <c:pt idx="52">
                  <c:v>6.4584354654581375</c:v>
                </c:pt>
                <c:pt idx="53">
                  <c:v>6.629149794601414</c:v>
                </c:pt>
                <c:pt idx="54">
                  <c:v>6.7857537603263189</c:v>
                </c:pt>
                <c:pt idx="55">
                  <c:v>6.9340204020697715</c:v>
                </c:pt>
                <c:pt idx="56">
                  <c:v>7.0797599990564333</c:v>
                </c:pt>
                <c:pt idx="57">
                  <c:v>7.2161640951373869</c:v>
                </c:pt>
                <c:pt idx="58">
                  <c:v>7.3449033706120028</c:v>
                </c:pt>
                <c:pt idx="59">
                  <c:v>7.4649950314746629</c:v>
                </c:pt>
                <c:pt idx="60">
                  <c:v>7.5805573882602699</c:v>
                </c:pt>
                <c:pt idx="61">
                  <c:v>7.6873054357587316</c:v>
                </c:pt>
                <c:pt idx="62">
                  <c:v>7.7849151199720827</c:v>
                </c:pt>
                <c:pt idx="63">
                  <c:v>7.8758492073574651</c:v>
                </c:pt>
                <c:pt idx="64">
                  <c:v>7.9614038275330561</c:v>
                </c:pt>
                <c:pt idx="65">
                  <c:v>8.0378716104711216</c:v>
                </c:pt>
                <c:pt idx="66">
                  <c:v>8.1057564941782854</c:v>
                </c:pt>
                <c:pt idx="67">
                  <c:v>8.1664733035957617</c:v>
                </c:pt>
                <c:pt idx="68">
                  <c:v>8.220553276641942</c:v>
                </c:pt>
                <c:pt idx="69">
                  <c:v>8.267601517166856</c:v>
                </c:pt>
                <c:pt idx="70">
                  <c:v>8.3072204613153531</c:v>
                </c:pt>
                <c:pt idx="71">
                  <c:v>8.3405728099836018</c:v>
                </c:pt>
                <c:pt idx="72">
                  <c:v>8.3663221675787938</c:v>
                </c:pt>
                <c:pt idx="73">
                  <c:v>8.3846354056413368</c:v>
                </c:pt>
                <c:pt idx="74">
                  <c:v>8.3947166467597398</c:v>
                </c:pt>
                <c:pt idx="75">
                  <c:v>8.3978270971418691</c:v>
                </c:pt>
                <c:pt idx="76">
                  <c:v>8.3940477874048636</c:v>
                </c:pt>
                <c:pt idx="77">
                  <c:v>8.3833482112273057</c:v>
                </c:pt>
                <c:pt idx="78">
                  <c:v>8.3654391516851234</c:v>
                </c:pt>
                <c:pt idx="79">
                  <c:v>8.3401227882425122</c:v>
                </c:pt>
                <c:pt idx="80">
                  <c:v>8.3078439561372175</c:v>
                </c:pt>
                <c:pt idx="81">
                  <c:v>8.2688195774752504</c:v>
                </c:pt>
                <c:pt idx="82">
                  <c:v>8.2231316804030801</c:v>
                </c:pt>
                <c:pt idx="83">
                  <c:v>8.1707945504341204</c:v>
                </c:pt>
                <c:pt idx="84">
                  <c:v>8.1120399760493651</c:v>
                </c:pt>
                <c:pt idx="85">
                  <c:v>8.0470804901073745</c:v>
                </c:pt>
                <c:pt idx="86">
                  <c:v>7.9761369209890294</c:v>
                </c:pt>
                <c:pt idx="87">
                  <c:v>7.8993961169713369</c:v>
                </c:pt>
                <c:pt idx="88">
                  <c:v>7.8171071668099419</c:v>
                </c:pt>
                <c:pt idx="89">
                  <c:v>7.7294875906815657</c:v>
                </c:pt>
                <c:pt idx="90">
                  <c:v>7.636737803539603</c:v>
                </c:pt>
                <c:pt idx="91">
                  <c:v>7.5391127545523648</c:v>
                </c:pt>
                <c:pt idx="92">
                  <c:v>7.4368970911165366</c:v>
                </c:pt>
                <c:pt idx="93">
                  <c:v>7.3303621881626402</c:v>
                </c:pt>
                <c:pt idx="94">
                  <c:v>7.2197737912455064</c:v>
                </c:pt>
                <c:pt idx="95">
                  <c:v>7.1054086466848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.433218024129161</c:v>
                </c:pt>
                <c:pt idx="43">
                  <c:v>4.6769746880323266</c:v>
                </c:pt>
                <c:pt idx="44">
                  <c:v>4.9174582180857929</c:v>
                </c:pt>
                <c:pt idx="45">
                  <c:v>5.1511129084889173</c:v>
                </c:pt>
                <c:pt idx="46">
                  <c:v>5.3874393671914911</c:v>
                </c:pt>
                <c:pt idx="47">
                  <c:v>5.630086355694222</c:v>
                </c:pt>
                <c:pt idx="48">
                  <c:v>5.8729993356308325</c:v>
                </c:pt>
                <c:pt idx="49">
                  <c:v>6.1148375872118947</c:v>
                </c:pt>
                <c:pt idx="50">
                  <c:v>6.3444832239755282</c:v>
                </c:pt>
                <c:pt idx="51">
                  <c:v>6.5749637254865032</c:v>
                </c:pt>
                <c:pt idx="52">
                  <c:v>6.8044279742007774</c:v>
                </c:pt>
                <c:pt idx="53">
                  <c:v>7.0368163256604657</c:v>
                </c:pt>
                <c:pt idx="54">
                  <c:v>7.260007461675114</c:v>
                </c:pt>
                <c:pt idx="55">
                  <c:v>7.4795182255665829</c:v>
                </c:pt>
                <c:pt idx="56">
                  <c:v>7.7009499515523636</c:v>
                </c:pt>
                <c:pt idx="57">
                  <c:v>7.9172057037177943</c:v>
                </c:pt>
                <c:pt idx="58">
                  <c:v>8.1296185491317576</c:v>
                </c:pt>
                <c:pt idx="59">
                  <c:v>8.3366901787266645</c:v>
                </c:pt>
                <c:pt idx="60">
                  <c:v>8.5422320801803586</c:v>
                </c:pt>
                <c:pt idx="61">
                  <c:v>8.741453116362166</c:v>
                </c:pt>
                <c:pt idx="62">
                  <c:v>8.9336465760772441</c:v>
                </c:pt>
                <c:pt idx="63">
                  <c:v>9.120914624057832</c:v>
                </c:pt>
                <c:pt idx="64">
                  <c:v>9.3040767424309845</c:v>
                </c:pt>
                <c:pt idx="65">
                  <c:v>9.4789617874901708</c:v>
                </c:pt>
                <c:pt idx="66">
                  <c:v>9.645643362420099</c:v>
                </c:pt>
                <c:pt idx="67">
                  <c:v>9.8051592568374808</c:v>
                </c:pt>
                <c:pt idx="68">
                  <c:v>9.957614476973518</c:v>
                </c:pt>
                <c:pt idx="69">
                  <c:v>10.102193102347197</c:v>
                </c:pt>
                <c:pt idx="70">
                  <c:v>10.238065064308454</c:v>
                </c:pt>
                <c:pt idx="71">
                  <c:v>10.365966902642977</c:v>
                </c:pt>
                <c:pt idx="72">
                  <c:v>10.484129094703579</c:v>
                </c:pt>
                <c:pt idx="73">
                  <c:v>10.592345887252623</c:v>
                </c:pt>
                <c:pt idx="74">
                  <c:v>10.689444354700724</c:v>
                </c:pt>
                <c:pt idx="75">
                  <c:v>10.7763515150078</c:v>
                </c:pt>
                <c:pt idx="76">
                  <c:v>10.852817186895564</c:v>
                </c:pt>
                <c:pt idx="77">
                  <c:v>10.918500982277321</c:v>
                </c:pt>
                <c:pt idx="78">
                  <c:v>10.972794801035768</c:v>
                </c:pt>
                <c:pt idx="79">
                  <c:v>11.015224178491849</c:v>
                </c:pt>
                <c:pt idx="80">
                  <c:v>11.046013951531254</c:v>
                </c:pt>
                <c:pt idx="81">
                  <c:v>11.065168947724455</c:v>
                </c:pt>
                <c:pt idx="82">
                  <c:v>11.072587330124218</c:v>
                </c:pt>
                <c:pt idx="83">
                  <c:v>11.068128234260396</c:v>
                </c:pt>
                <c:pt idx="84">
                  <c:v>11.05189697854437</c:v>
                </c:pt>
                <c:pt idx="85">
                  <c:v>11.024009356283642</c:v>
                </c:pt>
                <c:pt idx="86">
                  <c:v>10.984618878892832</c:v>
                </c:pt>
                <c:pt idx="87">
                  <c:v>10.933874553246747</c:v>
                </c:pt>
                <c:pt idx="88">
                  <c:v>10.872016442431381</c:v>
                </c:pt>
                <c:pt idx="89">
                  <c:v>10.799281017169067</c:v>
                </c:pt>
                <c:pt idx="90">
                  <c:v>10.715914323299501</c:v>
                </c:pt>
                <c:pt idx="91">
                  <c:v>10.622242531150402</c:v>
                </c:pt>
                <c:pt idx="92">
                  <c:v>10.518646144240124</c:v>
                </c:pt>
                <c:pt idx="93">
                  <c:v>10.405515673671397</c:v>
                </c:pt>
                <c:pt idx="94">
                  <c:v>10.283257550690085</c:v>
                </c:pt>
                <c:pt idx="95">
                  <c:v>10.152308298069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.4422287435120307</c:v>
                </c:pt>
                <c:pt idx="43">
                  <c:v>4.6986646480155905</c:v>
                </c:pt>
                <c:pt idx="44">
                  <c:v>4.9559734687501713</c:v>
                </c:pt>
                <c:pt idx="45">
                  <c:v>5.2110499532186143</c:v>
                </c:pt>
                <c:pt idx="46">
                  <c:v>5.473724752116742</c:v>
                </c:pt>
                <c:pt idx="47">
                  <c:v>5.7481340376479384</c:v>
                </c:pt>
                <c:pt idx="48">
                  <c:v>6.0283868591840397</c:v>
                </c:pt>
                <c:pt idx="49">
                  <c:v>6.3134166090283195</c:v>
                </c:pt>
                <c:pt idx="50">
                  <c:v>6.5921973323892242</c:v>
                </c:pt>
                <c:pt idx="51">
                  <c:v>6.8778817932541889</c:v>
                </c:pt>
                <c:pt idx="52">
                  <c:v>7.1686725160085896</c:v>
                </c:pt>
                <c:pt idx="53">
                  <c:v>7.4684522068919819</c:v>
                </c:pt>
                <c:pt idx="54">
                  <c:v>7.7650679111461498</c:v>
                </c:pt>
                <c:pt idx="55">
                  <c:v>8.0638659634261192</c:v>
                </c:pt>
                <c:pt idx="56">
                  <c:v>8.3703133879069025</c:v>
                </c:pt>
                <c:pt idx="57">
                  <c:v>8.6770851678423</c:v>
                </c:pt>
                <c:pt idx="58">
                  <c:v>8.9852215391094425</c:v>
                </c:pt>
                <c:pt idx="59">
                  <c:v>9.2927351838145249</c:v>
                </c:pt>
                <c:pt idx="60">
                  <c:v>9.6031375904144056</c:v>
                </c:pt>
                <c:pt idx="61">
                  <c:v>9.9111161514164614</c:v>
                </c:pt>
                <c:pt idx="62">
                  <c:v>10.215543556646136</c:v>
                </c:pt>
                <c:pt idx="63">
                  <c:v>10.518100621955391</c:v>
                </c:pt>
                <c:pt idx="64">
                  <c:v>10.819046089502498</c:v>
                </c:pt>
                <c:pt idx="65">
                  <c:v>11.113639689392175</c:v>
                </c:pt>
                <c:pt idx="66">
                  <c:v>11.401398865363515</c:v>
                </c:pt>
                <c:pt idx="67">
                  <c:v>11.682837489375551</c:v>
                </c:pt>
                <c:pt idx="68">
                  <c:v>11.957467941961134</c:v>
                </c:pt>
                <c:pt idx="69">
                  <c:v>12.223869248280739</c:v>
                </c:pt>
                <c:pt idx="70">
                  <c:v>12.480579290927938</c:v>
                </c:pt>
                <c:pt idx="71">
                  <c:v>12.72769567419515</c:v>
                </c:pt>
                <c:pt idx="72">
                  <c:v>12.962793027762835</c:v>
                </c:pt>
                <c:pt idx="73">
                  <c:v>13.185063336730519</c:v>
                </c:pt>
                <c:pt idx="74">
                  <c:v>13.392722626174383</c:v>
                </c:pt>
                <c:pt idx="75">
                  <c:v>13.586128448039716</c:v>
                </c:pt>
                <c:pt idx="76">
                  <c:v>13.764466023144839</c:v>
                </c:pt>
                <c:pt idx="77">
                  <c:v>13.92685673025804</c:v>
                </c:pt>
                <c:pt idx="78">
                  <c:v>14.072153264780699</c:v>
                </c:pt>
                <c:pt idx="79">
                  <c:v>14.199395324854869</c:v>
                </c:pt>
                <c:pt idx="80">
                  <c:v>14.30839267408307</c:v>
                </c:pt>
                <c:pt idx="81">
                  <c:v>14.398759550155319</c:v>
                </c:pt>
                <c:pt idx="82">
                  <c:v>14.470050583931691</c:v>
                </c:pt>
                <c:pt idx="83">
                  <c:v>14.521830990913216</c:v>
                </c:pt>
                <c:pt idx="84">
                  <c:v>14.553963475616332</c:v>
                </c:pt>
                <c:pt idx="85">
                  <c:v>14.566374922408885</c:v>
                </c:pt>
                <c:pt idx="86">
                  <c:v>14.559084338958399</c:v>
                </c:pt>
                <c:pt idx="87">
                  <c:v>14.532161345641796</c:v>
                </c:pt>
                <c:pt idx="88">
                  <c:v>14.485821326761901</c:v>
                </c:pt>
                <c:pt idx="89">
                  <c:v>14.420329776307357</c:v>
                </c:pt>
                <c:pt idx="90">
                  <c:v>14.336013652258501</c:v>
                </c:pt>
                <c:pt idx="91">
                  <c:v>14.233330024283397</c:v>
                </c:pt>
                <c:pt idx="92">
                  <c:v>14.112838161805779</c:v>
                </c:pt>
                <c:pt idx="93">
                  <c:v>13.975152412775781</c:v>
                </c:pt>
                <c:pt idx="94">
                  <c:v>13.820944679444164</c:v>
                </c:pt>
                <c:pt idx="95">
                  <c:v>13.6509549823349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7</c:v>
                </c:pt>
                <c:pt idx="11">
                  <c:v>7</c:v>
                </c:pt>
                <c:pt idx="12">
                  <c:v>8</c:v>
                </c:pt>
                <c:pt idx="13">
                  <c:v>10</c:v>
                </c:pt>
                <c:pt idx="14">
                  <c:v>9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11</c:v>
                </c:pt>
                <c:pt idx="20">
                  <c:v>14</c:v>
                </c:pt>
                <c:pt idx="21">
                  <c:v>15</c:v>
                </c:pt>
                <c:pt idx="22">
                  <c:v>14</c:v>
                </c:pt>
                <c:pt idx="23">
                  <c:v>14</c:v>
                </c:pt>
                <c:pt idx="24">
                  <c:v>16</c:v>
                </c:pt>
                <c:pt idx="25">
                  <c:v>20</c:v>
                </c:pt>
                <c:pt idx="26">
                  <c:v>21</c:v>
                </c:pt>
                <c:pt idx="27">
                  <c:v>19</c:v>
                </c:pt>
                <c:pt idx="28">
                  <c:v>18</c:v>
                </c:pt>
                <c:pt idx="29">
                  <c:v>19</c:v>
                </c:pt>
                <c:pt idx="30">
                  <c:v>18</c:v>
                </c:pt>
                <c:pt idx="31">
                  <c:v>25</c:v>
                </c:pt>
                <c:pt idx="32">
                  <c:v>23</c:v>
                </c:pt>
                <c:pt idx="33">
                  <c:v>25</c:v>
                </c:pt>
                <c:pt idx="34">
                  <c:v>26</c:v>
                </c:pt>
                <c:pt idx="35">
                  <c:v>24</c:v>
                </c:pt>
                <c:pt idx="36">
                  <c:v>27</c:v>
                </c:pt>
                <c:pt idx="37">
                  <c:v>27</c:v>
                </c:pt>
                <c:pt idx="38">
                  <c:v>29</c:v>
                </c:pt>
                <c:pt idx="39">
                  <c:v>29</c:v>
                </c:pt>
                <c:pt idx="40">
                  <c:v>30</c:v>
                </c:pt>
                <c:pt idx="41">
                  <c:v>26</c:v>
                </c:pt>
                <c:pt idx="42">
                  <c:v>22</c:v>
                </c:pt>
                <c:pt idx="43">
                  <c:v>24</c:v>
                </c:pt>
                <c:pt idx="44">
                  <c:v>27</c:v>
                </c:pt>
                <c:pt idx="45">
                  <c:v>33</c:v>
                </c:pt>
                <c:pt idx="46">
                  <c:v>34</c:v>
                </c:pt>
                <c:pt idx="47">
                  <c:v>41</c:v>
                </c:pt>
                <c:pt idx="48">
                  <c:v>42</c:v>
                </c:pt>
                <c:pt idx="49">
                  <c:v>42</c:v>
                </c:pt>
                <c:pt idx="50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9.486832236668675</c:v>
                </c:pt>
                <c:pt idx="43">
                  <c:v>31.013011345839111</c:v>
                </c:pt>
                <c:pt idx="44">
                  <c:v>32.492742177730854</c:v>
                </c:pt>
                <c:pt idx="45">
                  <c:v>33.89250665084024</c:v>
                </c:pt>
                <c:pt idx="46">
                  <c:v>35.276449588045793</c:v>
                </c:pt>
                <c:pt idx="47">
                  <c:v>36.666988237271781</c:v>
                </c:pt>
                <c:pt idx="48">
                  <c:v>38.030819920452842</c:v>
                </c:pt>
                <c:pt idx="49">
                  <c:v>39.350742545003413</c:v>
                </c:pt>
                <c:pt idx="50">
                  <c:v>40.548199856320721</c:v>
                </c:pt>
                <c:pt idx="51">
                  <c:v>41.721652890482346</c:v>
                </c:pt>
                <c:pt idx="52">
                  <c:v>42.858965691863844</c:v>
                </c:pt>
                <c:pt idx="53">
                  <c:v>43.983477127494382</c:v>
                </c:pt>
                <c:pt idx="54">
                  <c:v>45.008834529989144</c:v>
                </c:pt>
                <c:pt idx="55">
                  <c:v>45.983842869428713</c:v>
                </c:pt>
                <c:pt idx="56">
                  <c:v>46.945748750456417</c:v>
                </c:pt>
                <c:pt idx="57">
                  <c:v>47.847012249385742</c:v>
                </c:pt>
                <c:pt idx="58">
                  <c:v>48.695949525261767</c:v>
                </c:pt>
                <c:pt idx="59">
                  <c:v>49.490400956085651</c:v>
                </c:pt>
                <c:pt idx="60">
                  <c:v>50.260773733728179</c:v>
                </c:pt>
                <c:pt idx="61">
                  <c:v>50.969776235871137</c:v>
                </c:pt>
                <c:pt idx="62">
                  <c:v>51.619700594948995</c:v>
                </c:pt>
                <c:pt idx="63">
                  <c:v>52.224848432036588</c:v>
                </c:pt>
                <c:pt idx="64">
                  <c:v>52.797264682738913</c:v>
                </c:pt>
                <c:pt idx="65">
                  <c:v>53.309186083753957</c:v>
                </c:pt>
                <c:pt idx="66">
                  <c:v>53.764982295813581</c:v>
                </c:pt>
                <c:pt idx="67">
                  <c:v>54.174619580470846</c:v>
                </c:pt>
                <c:pt idx="68">
                  <c:v>54.540563214894831</c:v>
                </c:pt>
                <c:pt idx="69">
                  <c:v>54.859611563113248</c:v>
                </c:pt>
                <c:pt idx="70">
                  <c:v>55.129264689368128</c:v>
                </c:pt>
                <c:pt idx="71">
                  <c:v>55.358544207692802</c:v>
                </c:pt>
                <c:pt idx="72">
                  <c:v>55.537886116461166</c:v>
                </c:pt>
                <c:pt idx="73">
                  <c:v>55.667822083823971</c:v>
                </c:pt>
                <c:pt idx="74">
                  <c:v>55.743130913020678</c:v>
                </c:pt>
                <c:pt idx="75">
                  <c:v>55.77208681573488</c:v>
                </c:pt>
                <c:pt idx="76">
                  <c:v>55.754985533085261</c:v>
                </c:pt>
                <c:pt idx="77">
                  <c:v>55.691753118864142</c:v>
                </c:pt>
                <c:pt idx="78">
                  <c:v>55.580586723770047</c:v>
                </c:pt>
                <c:pt idx="79">
                  <c:v>55.420317134521035</c:v>
                </c:pt>
                <c:pt idx="80">
                  <c:v>55.213603346253976</c:v>
                </c:pt>
                <c:pt idx="81">
                  <c:v>54.961855747238729</c:v>
                </c:pt>
                <c:pt idx="82">
                  <c:v>54.665612511286071</c:v>
                </c:pt>
                <c:pt idx="83">
                  <c:v>54.324980817413504</c:v>
                </c:pt>
                <c:pt idx="84">
                  <c:v>53.941447170177014</c:v>
                </c:pt>
                <c:pt idx="85">
                  <c:v>53.516394899575715</c:v>
                </c:pt>
                <c:pt idx="86">
                  <c:v>53.051262775231137</c:v>
                </c:pt>
                <c:pt idx="87">
                  <c:v>52.547256870152303</c:v>
                </c:pt>
                <c:pt idx="88">
                  <c:v>52.005999027256664</c:v>
                </c:pt>
                <c:pt idx="89">
                  <c:v>51.428933494101685</c:v>
                </c:pt>
                <c:pt idx="90">
                  <c:v>50.81741774965024</c:v>
                </c:pt>
                <c:pt idx="91">
                  <c:v>50.17312839083737</c:v>
                </c:pt>
                <c:pt idx="92">
                  <c:v>49.497930740244264</c:v>
                </c:pt>
                <c:pt idx="93">
                  <c:v>48.793617652547212</c:v>
                </c:pt>
                <c:pt idx="94">
                  <c:v>48.061954034478134</c:v>
                </c:pt>
                <c:pt idx="95">
                  <c:v>47.304774666584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9.545278443141317</c:v>
                </c:pt>
                <c:pt idx="43">
                  <c:v>31.153300218660199</c:v>
                </c:pt>
                <c:pt idx="44">
                  <c:v>32.741148440788791</c:v>
                </c:pt>
                <c:pt idx="45">
                  <c:v>34.277846042197893</c:v>
                </c:pt>
                <c:pt idx="46">
                  <c:v>35.829172993320135</c:v>
                </c:pt>
                <c:pt idx="47">
                  <c:v>37.420131308666406</c:v>
                </c:pt>
                <c:pt idx="48">
                  <c:v>39.017927042990863</c:v>
                </c:pt>
                <c:pt idx="49">
                  <c:v>40.606537914348714</c:v>
                </c:pt>
                <c:pt idx="50">
                  <c:v>42.107330564150729</c:v>
                </c:pt>
                <c:pt idx="51">
                  <c:v>43.619049284032769</c:v>
                </c:pt>
                <c:pt idx="52">
                  <c:v>45.129210372419507</c:v>
                </c:pt>
                <c:pt idx="53">
                  <c:v>46.660152913622724</c:v>
                </c:pt>
                <c:pt idx="54">
                  <c:v>48.12465880101999</c:v>
                </c:pt>
                <c:pt idx="55">
                  <c:v>49.569964869983124</c:v>
                </c:pt>
                <c:pt idx="56">
                  <c:v>51.031963779764311</c:v>
                </c:pt>
                <c:pt idx="57">
                  <c:v>52.461177131033153</c:v>
                </c:pt>
                <c:pt idx="58">
                  <c:v>53.863765752983227</c:v>
                </c:pt>
                <c:pt idx="59">
                  <c:v>55.234246675899186</c:v>
                </c:pt>
                <c:pt idx="60">
                  <c:v>56.601073513947256</c:v>
                </c:pt>
                <c:pt idx="61">
                  <c:v>57.923555673746918</c:v>
                </c:pt>
                <c:pt idx="62">
                  <c:v>59.201480599202341</c:v>
                </c:pt>
                <c:pt idx="63">
                  <c:v>60.446719807031364</c:v>
                </c:pt>
                <c:pt idx="64">
                  <c:v>61.668261548531298</c:v>
                </c:pt>
                <c:pt idx="65">
                  <c:v>62.835220011357492</c:v>
                </c:pt>
                <c:pt idx="66">
                  <c:v>63.949135223110474</c:v>
                </c:pt>
                <c:pt idx="67">
                  <c:v>65.017447376003204</c:v>
                </c:pt>
                <c:pt idx="68">
                  <c:v>66.039783168046057</c:v>
                </c:pt>
                <c:pt idx="69">
                  <c:v>67.010132334993557</c:v>
                </c:pt>
                <c:pt idx="70">
                  <c:v>67.923093072766775</c:v>
                </c:pt>
                <c:pt idx="71">
                  <c:v>68.784866938144845</c:v>
                </c:pt>
                <c:pt idx="72">
                  <c:v>69.582982682643888</c:v>
                </c:pt>
                <c:pt idx="73">
                  <c:v>70.315450656659038</c:v>
                </c:pt>
                <c:pt idx="74">
                  <c:v>70.974508558490399</c:v>
                </c:pt>
                <c:pt idx="75">
                  <c:v>71.566186712121663</c:v>
                </c:pt>
                <c:pt idx="76">
                  <c:v>72.088544270573863</c:v>
                </c:pt>
                <c:pt idx="77">
                  <c:v>72.539409750307627</c:v>
                </c:pt>
                <c:pt idx="78">
                  <c:v>72.91484415647632</c:v>
                </c:pt>
                <c:pt idx="79">
                  <c:v>73.211809374705268</c:v>
                </c:pt>
                <c:pt idx="80">
                  <c:v>73.431449534875867</c:v>
                </c:pt>
                <c:pt idx="81">
                  <c:v>73.573725647955698</c:v>
                </c:pt>
                <c:pt idx="82">
                  <c:v>73.637913810473208</c:v>
                </c:pt>
                <c:pt idx="83">
                  <c:v>73.623049996306605</c:v>
                </c:pt>
                <c:pt idx="84">
                  <c:v>73.529740323077945</c:v>
                </c:pt>
                <c:pt idx="85">
                  <c:v>73.358685290382837</c:v>
                </c:pt>
                <c:pt idx="86">
                  <c:v>73.110836954677367</c:v>
                </c:pt>
                <c:pt idx="87">
                  <c:v>72.787111286972987</c:v>
                </c:pt>
                <c:pt idx="88">
                  <c:v>72.389032462858893</c:v>
                </c:pt>
                <c:pt idx="89">
                  <c:v>71.918134249619172</c:v>
                </c:pt>
                <c:pt idx="90">
                  <c:v>71.376042840445464</c:v>
                </c:pt>
                <c:pt idx="91">
                  <c:v>70.764875738821246</c:v>
                </c:pt>
                <c:pt idx="92">
                  <c:v>70.087104951113758</c:v>
                </c:pt>
                <c:pt idx="93">
                  <c:v>69.345286872998287</c:v>
                </c:pt>
                <c:pt idx="94">
                  <c:v>68.542095600319428</c:v>
                </c:pt>
                <c:pt idx="95">
                  <c:v>67.6804050759776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9.60405628030124</c:v>
                </c:pt>
                <c:pt idx="43">
                  <c:v>31.294794717436556</c:v>
                </c:pt>
                <c:pt idx="44">
                  <c:v>32.992557951303851</c:v>
                </c:pt>
                <c:pt idx="45">
                  <c:v>34.669379436302698</c:v>
                </c:pt>
                <c:pt idx="46">
                  <c:v>36.393217012728755</c:v>
                </c:pt>
                <c:pt idx="47">
                  <c:v>38.192267792101148</c:v>
                </c:pt>
                <c:pt idx="48">
                  <c:v>40.034902806709567</c:v>
                </c:pt>
                <c:pt idx="49">
                  <c:v>41.90697767640934</c:v>
                </c:pt>
                <c:pt idx="50">
                  <c:v>43.730499941051789</c:v>
                </c:pt>
                <c:pt idx="51">
                  <c:v>45.605226083297552</c:v>
                </c:pt>
                <c:pt idx="52">
                  <c:v>47.519045170620132</c:v>
                </c:pt>
                <c:pt idx="53">
                  <c:v>49.493986912110529</c:v>
                </c:pt>
                <c:pt idx="54">
                  <c:v>51.442612369006142</c:v>
                </c:pt>
                <c:pt idx="55">
                  <c:v>53.411169636467392</c:v>
                </c:pt>
                <c:pt idx="56">
                  <c:v>55.434705485815826</c:v>
                </c:pt>
                <c:pt idx="57">
                  <c:v>57.46221848335928</c:v>
                </c:pt>
                <c:pt idx="58">
                  <c:v>59.498027896720956</c:v>
                </c:pt>
                <c:pt idx="59">
                  <c:v>61.533521686217497</c:v>
                </c:pt>
                <c:pt idx="60">
                  <c:v>63.595265359611034</c:v>
                </c:pt>
                <c:pt idx="61">
                  <c:v>65.639088619750424</c:v>
                </c:pt>
                <c:pt idx="62">
                  <c:v>67.662044531398507</c:v>
                </c:pt>
                <c:pt idx="63">
                  <c:v>69.673193493631913</c:v>
                </c:pt>
                <c:pt idx="64">
                  <c:v>71.677931502695799</c:v>
                </c:pt>
                <c:pt idx="65">
                  <c:v>73.6415723176585</c:v>
                </c:pt>
                <c:pt idx="66">
                  <c:v>75.562011458399255</c:v>
                </c:pt>
                <c:pt idx="67">
                  <c:v>77.443206638881946</c:v>
                </c:pt>
                <c:pt idx="68">
                  <c:v>79.280857849608253</c:v>
                </c:pt>
                <c:pt idx="69">
                  <c:v>81.064938441414313</c:v>
                </c:pt>
                <c:pt idx="70">
                  <c:v>82.785831026301651</c:v>
                </c:pt>
                <c:pt idx="71">
                  <c:v>84.445512608418383</c:v>
                </c:pt>
                <c:pt idx="72">
                  <c:v>86.027130623051647</c:v>
                </c:pt>
                <c:pt idx="73">
                  <c:v>87.52465033240685</c:v>
                </c:pt>
                <c:pt idx="74">
                  <c:v>88.92621169298431</c:v>
                </c:pt>
                <c:pt idx="75">
                  <c:v>90.234032143700034</c:v>
                </c:pt>
                <c:pt idx="76">
                  <c:v>91.442373782139668</c:v>
                </c:pt>
                <c:pt idx="77">
                  <c:v>92.545436565807137</c:v>
                </c:pt>
                <c:pt idx="78">
                  <c:v>93.535663987838475</c:v>
                </c:pt>
                <c:pt idx="79">
                  <c:v>94.406738099111152</c:v>
                </c:pt>
                <c:pt idx="80">
                  <c:v>95.15696765347036</c:v>
                </c:pt>
                <c:pt idx="81">
                  <c:v>95.783650946568244</c:v>
                </c:pt>
                <c:pt idx="82">
                  <c:v>96.283711214252833</c:v>
                </c:pt>
                <c:pt idx="83">
                  <c:v>96.654159168742382</c:v>
                </c:pt>
                <c:pt idx="84">
                  <c:v>96.893915123520969</c:v>
                </c:pt>
                <c:pt idx="85">
                  <c:v>97.002349417766311</c:v>
                </c:pt>
                <c:pt idx="86">
                  <c:v>96.979445370089053</c:v>
                </c:pt>
                <c:pt idx="87">
                  <c:v>96.825517010170643</c:v>
                </c:pt>
                <c:pt idx="88">
                  <c:v>96.541851348819961</c:v>
                </c:pt>
                <c:pt idx="89">
                  <c:v>96.130103919614683</c:v>
                </c:pt>
                <c:pt idx="90">
                  <c:v>95.592370691307821</c:v>
                </c:pt>
                <c:pt idx="91">
                  <c:v>94.931574981195155</c:v>
                </c:pt>
                <c:pt idx="92">
                  <c:v>94.151316900296479</c:v>
                </c:pt>
                <c:pt idx="93">
                  <c:v>93.255585101267485</c:v>
                </c:pt>
                <c:pt idx="94">
                  <c:v>92.248767869270353</c:v>
                </c:pt>
                <c:pt idx="95">
                  <c:v>91.1357116821695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5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6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8</c:v>
                </c:pt>
                <c:pt idx="30">
                  <c:v>8</c:v>
                </c:pt>
                <c:pt idx="31">
                  <c:v>10</c:v>
                </c:pt>
                <c:pt idx="32">
                  <c:v>10</c:v>
                </c:pt>
                <c:pt idx="33">
                  <c:v>7</c:v>
                </c:pt>
                <c:pt idx="34">
                  <c:v>5</c:v>
                </c:pt>
                <c:pt idx="35">
                  <c:v>4</c:v>
                </c:pt>
                <c:pt idx="36">
                  <c:v>5</c:v>
                </c:pt>
                <c:pt idx="37">
                  <c:v>5</c:v>
                </c:pt>
                <c:pt idx="38">
                  <c:v>8</c:v>
                </c:pt>
                <c:pt idx="39">
                  <c:v>6</c:v>
                </c:pt>
                <c:pt idx="40">
                  <c:v>7</c:v>
                </c:pt>
                <c:pt idx="41">
                  <c:v>5</c:v>
                </c:pt>
                <c:pt idx="42">
                  <c:v>9</c:v>
                </c:pt>
                <c:pt idx="43">
                  <c:v>11</c:v>
                </c:pt>
                <c:pt idx="44">
                  <c:v>14</c:v>
                </c:pt>
                <c:pt idx="45">
                  <c:v>19</c:v>
                </c:pt>
                <c:pt idx="46">
                  <c:v>19</c:v>
                </c:pt>
                <c:pt idx="47">
                  <c:v>22</c:v>
                </c:pt>
                <c:pt idx="48">
                  <c:v>19</c:v>
                </c:pt>
                <c:pt idx="49">
                  <c:v>24</c:v>
                </c:pt>
                <c:pt idx="5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7.076958419073076</c:v>
                </c:pt>
                <c:pt idx="43">
                  <c:v>17.956624923848274</c:v>
                </c:pt>
                <c:pt idx="44">
                  <c:v>18.809975239922487</c:v>
                </c:pt>
                <c:pt idx="45">
                  <c:v>19.615526099115314</c:v>
                </c:pt>
                <c:pt idx="46">
                  <c:v>20.411128433815339</c:v>
                </c:pt>
                <c:pt idx="47">
                  <c:v>21.209971718038403</c:v>
                </c:pt>
                <c:pt idx="48">
                  <c:v>21.994891780945999</c:v>
                </c:pt>
                <c:pt idx="49">
                  <c:v>22.753897569573571</c:v>
                </c:pt>
                <c:pt idx="50">
                  <c:v>23.440196985021103</c:v>
                </c:pt>
                <c:pt idx="51">
                  <c:v>24.114145770296076</c:v>
                </c:pt>
                <c:pt idx="52">
                  <c:v>24.768669532917691</c:v>
                </c:pt>
                <c:pt idx="53">
                  <c:v>25.416150330034284</c:v>
                </c:pt>
                <c:pt idx="54">
                  <c:v>26.004755937881654</c:v>
                </c:pt>
                <c:pt idx="55">
                  <c:v>26.565683965052152</c:v>
                </c:pt>
                <c:pt idx="56">
                  <c:v>27.12008574484458</c:v>
                </c:pt>
                <c:pt idx="57">
                  <c:v>27.639814949625496</c:v>
                </c:pt>
                <c:pt idx="58">
                  <c:v>28.128887465925953</c:v>
                </c:pt>
                <c:pt idx="59">
                  <c:v>28.587299225273462</c:v>
                </c:pt>
                <c:pt idx="60">
                  <c:v>29.033500512206842</c:v>
                </c:pt>
                <c:pt idx="61">
                  <c:v>29.443414679670546</c:v>
                </c:pt>
                <c:pt idx="62">
                  <c:v>29.819633269336428</c:v>
                </c:pt>
                <c:pt idx="63">
                  <c:v>30.169839144289085</c:v>
                </c:pt>
                <c:pt idx="64">
                  <c:v>30.501975233487162</c:v>
                </c:pt>
                <c:pt idx="65">
                  <c:v>30.799095503815394</c:v>
                </c:pt>
                <c:pt idx="66">
                  <c:v>31.064017662416134</c:v>
                </c:pt>
                <c:pt idx="67">
                  <c:v>31.302665953357184</c:v>
                </c:pt>
                <c:pt idx="68">
                  <c:v>31.516162784198062</c:v>
                </c:pt>
                <c:pt idx="69">
                  <c:v>31.702492194356545</c:v>
                </c:pt>
                <c:pt idx="70">
                  <c:v>31.86024889557179</c:v>
                </c:pt>
                <c:pt idx="71">
                  <c:v>31.995018949604521</c:v>
                </c:pt>
                <c:pt idx="72">
                  <c:v>32.101076873850374</c:v>
                </c:pt>
                <c:pt idx="73">
                  <c:v>32.17856574969062</c:v>
                </c:pt>
                <c:pt idx="74">
                  <c:v>32.224485397809929</c:v>
                </c:pt>
                <c:pt idx="75">
                  <c:v>32.243590397962365</c:v>
                </c:pt>
                <c:pt idx="76">
                  <c:v>32.235982654591027</c:v>
                </c:pt>
                <c:pt idx="77">
                  <c:v>32.201656076941582</c:v>
                </c:pt>
                <c:pt idx="78">
                  <c:v>32.13960198065169</c:v>
                </c:pt>
                <c:pt idx="79">
                  <c:v>32.049185599966307</c:v>
                </c:pt>
                <c:pt idx="80">
                  <c:v>31.931860046888616</c:v>
                </c:pt>
                <c:pt idx="81">
                  <c:v>31.788432092443585</c:v>
                </c:pt>
                <c:pt idx="82">
                  <c:v>31.619210992303174</c:v>
                </c:pt>
                <c:pt idx="83">
                  <c:v>31.424262216408202</c:v>
                </c:pt>
                <c:pt idx="84">
                  <c:v>31.204430096846636</c:v>
                </c:pt>
                <c:pt idx="85">
                  <c:v>30.960506357474614</c:v>
                </c:pt>
                <c:pt idx="86">
                  <c:v>30.69331487239873</c:v>
                </c:pt>
                <c:pt idx="87">
                  <c:v>30.403542984420412</c:v>
                </c:pt>
                <c:pt idx="88">
                  <c:v>30.092119094158207</c:v>
                </c:pt>
                <c:pt idx="89">
                  <c:v>29.759878064132906</c:v>
                </c:pt>
                <c:pt idx="90">
                  <c:v>29.407612238843228</c:v>
                </c:pt>
                <c:pt idx="91">
                  <c:v>29.036286185677408</c:v>
                </c:pt>
                <c:pt idx="92">
                  <c:v>28.646971155946268</c:v>
                </c:pt>
                <c:pt idx="93">
                  <c:v>28.240700972399225</c:v>
                </c:pt>
                <c:pt idx="94">
                  <c:v>27.818495989600876</c:v>
                </c:pt>
                <c:pt idx="95">
                  <c:v>27.38141605078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7.110446307464336</c:v>
                </c:pt>
                <c:pt idx="43">
                  <c:v>18.037008725305693</c:v>
                </c:pt>
                <c:pt idx="44">
                  <c:v>18.952353884596672</c:v>
                </c:pt>
                <c:pt idx="45">
                  <c:v>19.836474967543847</c:v>
                </c:pt>
                <c:pt idx="46">
                  <c:v>20.728166250454258</c:v>
                </c:pt>
                <c:pt idx="47">
                  <c:v>21.642101497926433</c:v>
                </c:pt>
                <c:pt idx="48">
                  <c:v>22.561434621998799</c:v>
                </c:pt>
                <c:pt idx="49">
                  <c:v>23.47487430626672</c:v>
                </c:pt>
                <c:pt idx="50">
                  <c:v>24.335593334445349</c:v>
                </c:pt>
                <c:pt idx="51">
                  <c:v>25.204162527474359</c:v>
                </c:pt>
                <c:pt idx="52">
                  <c:v>26.073310536510228</c:v>
                </c:pt>
                <c:pt idx="53">
                  <c:v>26.954860983979508</c:v>
                </c:pt>
                <c:pt idx="54">
                  <c:v>27.796476238199311</c:v>
                </c:pt>
                <c:pt idx="55">
                  <c:v>28.628485311773851</c:v>
                </c:pt>
                <c:pt idx="56">
                  <c:v>29.471266385709711</c:v>
                </c:pt>
                <c:pt idx="57">
                  <c:v>30.295545996521106</c:v>
                </c:pt>
                <c:pt idx="58">
                  <c:v>31.104118713386544</c:v>
                </c:pt>
                <c:pt idx="59">
                  <c:v>31.895087721902129</c:v>
                </c:pt>
                <c:pt idx="60">
                  <c:v>32.685797849300201</c:v>
                </c:pt>
                <c:pt idx="61">
                  <c:v>33.450196676695214</c:v>
                </c:pt>
                <c:pt idx="62">
                  <c:v>34.189438145805951</c:v>
                </c:pt>
                <c:pt idx="63">
                  <c:v>34.909790153695134</c:v>
                </c:pt>
                <c:pt idx="64">
                  <c:v>35.617459481638058</c:v>
                </c:pt>
                <c:pt idx="65">
                  <c:v>36.29368273958876</c:v>
                </c:pt>
                <c:pt idx="66">
                  <c:v>36.939649807444596</c:v>
                </c:pt>
                <c:pt idx="67">
                  <c:v>37.55981823700958</c:v>
                </c:pt>
                <c:pt idx="68">
                  <c:v>38.153667122598421</c:v>
                </c:pt>
                <c:pt idx="69">
                  <c:v>38.717553185907065</c:v>
                </c:pt>
                <c:pt idx="70">
                  <c:v>39.248385073134294</c:v>
                </c:pt>
                <c:pt idx="71">
                  <c:v>39.750121385133156</c:v>
                </c:pt>
                <c:pt idx="72">
                  <c:v>40.215347109224247</c:v>
                </c:pt>
                <c:pt idx="73">
                  <c:v>40.642734388917134</c:v>
                </c:pt>
                <c:pt idx="74">
                  <c:v>41.027803400021391</c:v>
                </c:pt>
                <c:pt idx="75">
                  <c:v>41.374004490862852</c:v>
                </c:pt>
                <c:pt idx="76">
                  <c:v>41.680136002091459</c:v>
                </c:pt>
                <c:pt idx="77">
                  <c:v>41.944967925613554</c:v>
                </c:pt>
                <c:pt idx="78">
                  <c:v>42.166251372211377</c:v>
                </c:pt>
                <c:pt idx="79">
                  <c:v>42.342262090753707</c:v>
                </c:pt>
                <c:pt idx="80">
                  <c:v>42.473562071701679</c:v>
                </c:pt>
                <c:pt idx="81">
                  <c:v>42.560108528581004</c:v>
                </c:pt>
                <c:pt idx="82">
                  <c:v>42.601469392618327</c:v>
                </c:pt>
                <c:pt idx="83">
                  <c:v>42.597079206304855</c:v>
                </c:pt>
                <c:pt idx="84">
                  <c:v>42.54726179132804</c:v>
                </c:pt>
                <c:pt idx="85">
                  <c:v>42.452402605725183</c:v>
                </c:pt>
                <c:pt idx="86">
                  <c:v>42.31303284288034</c:v>
                </c:pt>
                <c:pt idx="87">
                  <c:v>42.129661076010947</c:v>
                </c:pt>
                <c:pt idx="88">
                  <c:v>41.903148491313694</c:v>
                </c:pt>
                <c:pt idx="89">
                  <c:v>41.634371351654551</c:v>
                </c:pt>
                <c:pt idx="90">
                  <c:v>41.324267570766338</c:v>
                </c:pt>
                <c:pt idx="91">
                  <c:v>40.974047473578196</c:v>
                </c:pt>
                <c:pt idx="92">
                  <c:v>40.585124528365036</c:v>
                </c:pt>
                <c:pt idx="93">
                  <c:v>40.158966099625268</c:v>
                </c:pt>
                <c:pt idx="94">
                  <c:v>39.697111008994199</c:v>
                </c:pt>
                <c:pt idx="95">
                  <c:v>39.201213616417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7.144124252978056</c:v>
                </c:pt>
                <c:pt idx="43">
                  <c:v>18.118083368437745</c:v>
                </c:pt>
                <c:pt idx="44">
                  <c:v>19.096453525666565</c:v>
                </c:pt>
                <c:pt idx="45">
                  <c:v>20.060973782942895</c:v>
                </c:pt>
                <c:pt idx="46">
                  <c:v>21.05169351431514</c:v>
                </c:pt>
                <c:pt idx="47">
                  <c:v>22.085121724870902</c:v>
                </c:pt>
                <c:pt idx="48">
                  <c:v>23.145108219462173</c:v>
                </c:pt>
                <c:pt idx="49">
                  <c:v>24.221463727101657</c:v>
                </c:pt>
                <c:pt idx="50">
                  <c:v>25.267740205188311</c:v>
                </c:pt>
                <c:pt idx="51">
                  <c:v>26.34514498636991</c:v>
                </c:pt>
                <c:pt idx="52">
                  <c:v>27.446626938479849</c:v>
                </c:pt>
                <c:pt idx="53">
                  <c:v>28.583851764891499</c:v>
                </c:pt>
                <c:pt idx="54">
                  <c:v>29.704351107657818</c:v>
                </c:pt>
                <c:pt idx="55">
                  <c:v>30.837923290907504</c:v>
                </c:pt>
                <c:pt idx="56">
                  <c:v>32.004470597195706</c:v>
                </c:pt>
                <c:pt idx="57">
                  <c:v>33.17383668634691</c:v>
                </c:pt>
                <c:pt idx="58">
                  <c:v>34.347780871080161</c:v>
                </c:pt>
                <c:pt idx="59">
                  <c:v>35.522631107487364</c:v>
                </c:pt>
                <c:pt idx="60">
                  <c:v>36.714670359320152</c:v>
                </c:pt>
                <c:pt idx="61">
                  <c:v>37.895829783803315</c:v>
                </c:pt>
                <c:pt idx="62">
                  <c:v>39.065699282981825</c:v>
                </c:pt>
                <c:pt idx="63">
                  <c:v>40.228917901854743</c:v>
                </c:pt>
                <c:pt idx="64">
                  <c:v>41.389653171581138</c:v>
                </c:pt>
                <c:pt idx="65">
                  <c:v>42.526938651696597</c:v>
                </c:pt>
                <c:pt idx="66">
                  <c:v>43.639871205436606</c:v>
                </c:pt>
                <c:pt idx="67">
                  <c:v>44.730894197429464</c:v>
                </c:pt>
                <c:pt idx="68">
                  <c:v>45.797219153627857</c:v>
                </c:pt>
                <c:pt idx="69">
                  <c:v>46.832881348777406</c:v>
                </c:pt>
                <c:pt idx="70">
                  <c:v>47.832347142069082</c:v>
                </c:pt>
                <c:pt idx="71">
                  <c:v>48.797138139228949</c:v>
                </c:pt>
                <c:pt idx="72">
                  <c:v>49.717299037772108</c:v>
                </c:pt>
                <c:pt idx="73">
                  <c:v>50.589150476064056</c:v>
                </c:pt>
                <c:pt idx="74">
                  <c:v>51.405832310426618</c:v>
                </c:pt>
                <c:pt idx="75">
                  <c:v>52.168581730912891</c:v>
                </c:pt>
                <c:pt idx="76">
                  <c:v>52.873988369636166</c:v>
                </c:pt>
                <c:pt idx="77">
                  <c:v>53.518709042812219</c:v>
                </c:pt>
                <c:pt idx="78">
                  <c:v>54.098393058109338</c:v>
                </c:pt>
                <c:pt idx="79">
                  <c:v>54.609404810632199</c:v>
                </c:pt>
                <c:pt idx="80">
                  <c:v>55.0506446257573</c:v>
                </c:pt>
                <c:pt idx="81">
                  <c:v>55.420510739164719</c:v>
                </c:pt>
                <c:pt idx="82">
                  <c:v>55.717190480851144</c:v>
                </c:pt>
                <c:pt idx="83">
                  <c:v>55.938926649386872</c:v>
                </c:pt>
                <c:pt idx="84">
                  <c:v>56.085047208987426</c:v>
                </c:pt>
                <c:pt idx="85">
                  <c:v>56.1551470770832</c:v>
                </c:pt>
                <c:pt idx="86">
                  <c:v>56.149175885788821</c:v>
                </c:pt>
                <c:pt idx="87">
                  <c:v>56.067272917025633</c:v>
                </c:pt>
                <c:pt idx="88">
                  <c:v>55.910141367285412</c:v>
                </c:pt>
                <c:pt idx="89">
                  <c:v>55.678707669344959</c:v>
                </c:pt>
                <c:pt idx="90">
                  <c:v>55.374162071353481</c:v>
                </c:pt>
                <c:pt idx="91">
                  <c:v>54.998162663976871</c:v>
                </c:pt>
                <c:pt idx="92">
                  <c:v>54.552758260554967</c:v>
                </c:pt>
                <c:pt idx="93">
                  <c:v>54.040228785474234</c:v>
                </c:pt>
                <c:pt idx="94">
                  <c:v>53.463090161277862</c:v>
                </c:pt>
                <c:pt idx="95">
                  <c:v>52.82412485936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9</c:v>
                </c:pt>
                <c:pt idx="30">
                  <c:v>10</c:v>
                </c:pt>
                <c:pt idx="31">
                  <c:v>14</c:v>
                </c:pt>
                <c:pt idx="32">
                  <c:v>16</c:v>
                </c:pt>
                <c:pt idx="33">
                  <c:v>16</c:v>
                </c:pt>
                <c:pt idx="34">
                  <c:v>20</c:v>
                </c:pt>
                <c:pt idx="35">
                  <c:v>18</c:v>
                </c:pt>
                <c:pt idx="36">
                  <c:v>20</c:v>
                </c:pt>
                <c:pt idx="37">
                  <c:v>19</c:v>
                </c:pt>
                <c:pt idx="38">
                  <c:v>20</c:v>
                </c:pt>
                <c:pt idx="39">
                  <c:v>19</c:v>
                </c:pt>
                <c:pt idx="40">
                  <c:v>20</c:v>
                </c:pt>
                <c:pt idx="41">
                  <c:v>23</c:v>
                </c:pt>
                <c:pt idx="42">
                  <c:v>21</c:v>
                </c:pt>
                <c:pt idx="43">
                  <c:v>23</c:v>
                </c:pt>
                <c:pt idx="44">
                  <c:v>21</c:v>
                </c:pt>
                <c:pt idx="45">
                  <c:v>22</c:v>
                </c:pt>
                <c:pt idx="46">
                  <c:v>26</c:v>
                </c:pt>
                <c:pt idx="47">
                  <c:v>31</c:v>
                </c:pt>
                <c:pt idx="48">
                  <c:v>30</c:v>
                </c:pt>
                <c:pt idx="49">
                  <c:v>37</c:v>
                </c:pt>
                <c:pt idx="5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3.029472561581656</c:v>
                </c:pt>
                <c:pt idx="43">
                  <c:v>24.219167586284662</c:v>
                </c:pt>
                <c:pt idx="44">
                  <c:v>25.37290062734364</c:v>
                </c:pt>
                <c:pt idx="45">
                  <c:v>26.463377645460067</c:v>
                </c:pt>
                <c:pt idx="46">
                  <c:v>27.541074621914234</c:v>
                </c:pt>
                <c:pt idx="47">
                  <c:v>28.623611029136526</c:v>
                </c:pt>
                <c:pt idx="48">
                  <c:v>29.686120805915841</c:v>
                </c:pt>
                <c:pt idx="49">
                  <c:v>30.714076008202092</c:v>
                </c:pt>
                <c:pt idx="50">
                  <c:v>31.645424664855586</c:v>
                </c:pt>
                <c:pt idx="51">
                  <c:v>32.558861479920623</c:v>
                </c:pt>
                <c:pt idx="52">
                  <c:v>33.444883386787147</c:v>
                </c:pt>
                <c:pt idx="53">
                  <c:v>34.321107086440257</c:v>
                </c:pt>
                <c:pt idx="54">
                  <c:v>35.119108734473784</c:v>
                </c:pt>
                <c:pt idx="55">
                  <c:v>35.878585497453969</c:v>
                </c:pt>
                <c:pt idx="56">
                  <c:v>36.628401229994665</c:v>
                </c:pt>
                <c:pt idx="57">
                  <c:v>37.331095969665185</c:v>
                </c:pt>
                <c:pt idx="58">
                  <c:v>37.992733528373577</c:v>
                </c:pt>
                <c:pt idx="59">
                  <c:v>38.612298868214637</c:v>
                </c:pt>
                <c:pt idx="60">
                  <c:v>39.213992996038215</c:v>
                </c:pt>
                <c:pt idx="61">
                  <c:v>39.767354903157418</c:v>
                </c:pt>
                <c:pt idx="62">
                  <c:v>40.274855800103069</c:v>
                </c:pt>
                <c:pt idx="63">
                  <c:v>40.747342253227174</c:v>
                </c:pt>
                <c:pt idx="64">
                  <c:v>41.194742573899703</c:v>
                </c:pt>
                <c:pt idx="65">
                  <c:v>41.594906167304529</c:v>
                </c:pt>
                <c:pt idx="66">
                  <c:v>41.951400437477858</c:v>
                </c:pt>
                <c:pt idx="67">
                  <c:v>42.272091227727216</c:v>
                </c:pt>
                <c:pt idx="68">
                  <c:v>42.558739441882963</c:v>
                </c:pt>
                <c:pt idx="69">
                  <c:v>42.808757419194819</c:v>
                </c:pt>
                <c:pt idx="70">
                  <c:v>43.020215596503959</c:v>
                </c:pt>
                <c:pt idx="71">
                  <c:v>43.200354585759143</c:v>
                </c:pt>
                <c:pt idx="72">
                  <c:v>43.341604285104665</c:v>
                </c:pt>
                <c:pt idx="73">
                  <c:v>43.444291129262396</c:v>
                </c:pt>
                <c:pt idx="74">
                  <c:v>43.504350041748381</c:v>
                </c:pt>
                <c:pt idx="75">
                  <c:v>43.528223139615079</c:v>
                </c:pt>
                <c:pt idx="76">
                  <c:v>43.516104025160729</c:v>
                </c:pt>
                <c:pt idx="77">
                  <c:v>43.467954736734264</c:v>
                </c:pt>
                <c:pt idx="78">
                  <c:v>43.382386313514573</c:v>
                </c:pt>
                <c:pt idx="79">
                  <c:v>43.258508417334738</c:v>
                </c:pt>
                <c:pt idx="80">
                  <c:v>43.098350974473831</c:v>
                </c:pt>
                <c:pt idx="81">
                  <c:v>42.903010101804441</c:v>
                </c:pt>
                <c:pt idx="82">
                  <c:v>42.67290481316185</c:v>
                </c:pt>
                <c:pt idx="83">
                  <c:v>42.408120647239429</c:v>
                </c:pt>
                <c:pt idx="84">
                  <c:v>42.109809655244575</c:v>
                </c:pt>
                <c:pt idx="85">
                  <c:v>41.779047157122605</c:v>
                </c:pt>
                <c:pt idx="86">
                  <c:v>41.416951794830979</c:v>
                </c:pt>
                <c:pt idx="87">
                  <c:v>41.024459519856066</c:v>
                </c:pt>
                <c:pt idx="88">
                  <c:v>40.602831148783125</c:v>
                </c:pt>
                <c:pt idx="89">
                  <c:v>40.153193812793717</c:v>
                </c:pt>
                <c:pt idx="90">
                  <c:v>39.676611042274757</c:v>
                </c:pt>
                <c:pt idx="91">
                  <c:v>39.174388818218915</c:v>
                </c:pt>
                <c:pt idx="92">
                  <c:v>38.647979109480957</c:v>
                </c:pt>
                <c:pt idx="93">
                  <c:v>38.098779733029865</c:v>
                </c:pt>
                <c:pt idx="94">
                  <c:v>37.528168142350296</c:v>
                </c:pt>
                <c:pt idx="95">
                  <c:v>36.937575836106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3.074925303711794</c:v>
                </c:pt>
                <c:pt idx="43">
                  <c:v>24.328269532075097</c:v>
                </c:pt>
                <c:pt idx="44">
                  <c:v>25.566109113544112</c:v>
                </c:pt>
                <c:pt idx="45">
                  <c:v>26.763137176723021</c:v>
                </c:pt>
                <c:pt idx="46">
                  <c:v>27.971104810096428</c:v>
                </c:pt>
                <c:pt idx="47">
                  <c:v>29.209643397520964</c:v>
                </c:pt>
                <c:pt idx="48">
                  <c:v>30.454296839766386</c:v>
                </c:pt>
                <c:pt idx="49">
                  <c:v>31.691467504679334</c:v>
                </c:pt>
                <c:pt idx="50">
                  <c:v>32.859048340116829</c:v>
                </c:pt>
                <c:pt idx="51">
                  <c:v>34.035982770104269</c:v>
                </c:pt>
                <c:pt idx="52">
                  <c:v>35.212498525727455</c:v>
                </c:pt>
                <c:pt idx="53">
                  <c:v>36.405442555509694</c:v>
                </c:pt>
                <c:pt idx="54">
                  <c:v>37.545712837337689</c:v>
                </c:pt>
                <c:pt idx="55">
                  <c:v>38.67180313025009</c:v>
                </c:pt>
                <c:pt idx="56">
                  <c:v>39.811525755678801</c:v>
                </c:pt>
                <c:pt idx="57">
                  <c:v>40.925904365780795</c:v>
                </c:pt>
                <c:pt idx="58">
                  <c:v>42.019333942913569</c:v>
                </c:pt>
                <c:pt idx="59">
                  <c:v>43.088221089644179</c:v>
                </c:pt>
                <c:pt idx="60">
                  <c:v>44.155255024187383</c:v>
                </c:pt>
                <c:pt idx="61">
                  <c:v>45.187316180558184</c:v>
                </c:pt>
                <c:pt idx="62">
                  <c:v>46.184926568877955</c:v>
                </c:pt>
                <c:pt idx="63">
                  <c:v>47.157030728738057</c:v>
                </c:pt>
                <c:pt idx="64">
                  <c:v>48.111188043875885</c:v>
                </c:pt>
                <c:pt idx="65">
                  <c:v>49.022804349523625</c:v>
                </c:pt>
                <c:pt idx="66">
                  <c:v>49.893242966012266</c:v>
                </c:pt>
                <c:pt idx="67">
                  <c:v>50.728394835041541</c:v>
                </c:pt>
                <c:pt idx="68">
                  <c:v>51.527804237886642</c:v>
                </c:pt>
                <c:pt idx="69">
                  <c:v>52.286689555718226</c:v>
                </c:pt>
                <c:pt idx="70">
                  <c:v>53.000851887482348</c:v>
                </c:pt>
                <c:pt idx="71">
                  <c:v>53.675332449802461</c:v>
                </c:pt>
                <c:pt idx="72">
                  <c:v>54.300287413884035</c:v>
                </c:pt>
                <c:pt idx="73">
                  <c:v>54.874068253934986</c:v>
                </c:pt>
                <c:pt idx="74">
                  <c:v>55.390620961939192</c:v>
                </c:pt>
                <c:pt idx="75">
                  <c:v>55.854632621692474</c:v>
                </c:pt>
                <c:pt idx="76">
                  <c:v>56.264545585388177</c:v>
                </c:pt>
                <c:pt idx="77">
                  <c:v>56.618678765300416</c:v>
                </c:pt>
                <c:pt idx="78">
                  <c:v>56.913973192523315</c:v>
                </c:pt>
                <c:pt idx="79">
                  <c:v>57.148075057961634</c:v>
                </c:pt>
                <c:pt idx="80">
                  <c:v>57.321823727467098</c:v>
                </c:pt>
                <c:pt idx="81">
                  <c:v>57.435177863858137</c:v>
                </c:pt>
                <c:pt idx="82">
                  <c:v>57.48756518077986</c:v>
                </c:pt>
                <c:pt idx="83">
                  <c:v>57.47822891174215</c:v>
                </c:pt>
                <c:pt idx="84">
                  <c:v>57.407627783283061</c:v>
                </c:pt>
                <c:pt idx="85">
                  <c:v>57.276297993535366</c:v>
                </c:pt>
                <c:pt idx="86">
                  <c:v>57.084972235179571</c:v>
                </c:pt>
                <c:pt idx="87">
                  <c:v>56.83435409026842</c:v>
                </c:pt>
                <c:pt idx="88">
                  <c:v>56.525622357746244</c:v>
                </c:pt>
                <c:pt idx="89">
                  <c:v>56.159968457689544</c:v>
                </c:pt>
                <c:pt idx="90">
                  <c:v>55.738660372210944</c:v>
                </c:pt>
                <c:pt idx="91">
                  <c:v>55.263343268312944</c:v>
                </c:pt>
                <c:pt idx="92">
                  <c:v>54.735938017548463</c:v>
                </c:pt>
                <c:pt idx="93">
                  <c:v>54.158434106514363</c:v>
                </c:pt>
                <c:pt idx="94">
                  <c:v>53.532914720499392</c:v>
                </c:pt>
                <c:pt idx="95">
                  <c:v>52.861619018896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3.120635973179844</c:v>
                </c:pt>
                <c:pt idx="43">
                  <c:v>24.43830910473903</c:v>
                </c:pt>
                <c:pt idx="44">
                  <c:v>25.761653303005495</c:v>
                </c:pt>
                <c:pt idx="45">
                  <c:v>27.067714215587941</c:v>
                </c:pt>
                <c:pt idx="46">
                  <c:v>28.409940531123972</c:v>
                </c:pt>
                <c:pt idx="47">
                  <c:v>29.810450862795712</c:v>
                </c:pt>
                <c:pt idx="48">
                  <c:v>31.24571039580271</c:v>
                </c:pt>
                <c:pt idx="49">
                  <c:v>32.703595957025819</c:v>
                </c:pt>
                <c:pt idx="50">
                  <c:v>34.122505354218767</c:v>
                </c:pt>
                <c:pt idx="51">
                  <c:v>35.582199648001634</c:v>
                </c:pt>
                <c:pt idx="52">
                  <c:v>37.073200039123002</c:v>
                </c:pt>
                <c:pt idx="53">
                  <c:v>38.612123301105783</c:v>
                </c:pt>
                <c:pt idx="54">
                  <c:v>40.129693413233255</c:v>
                </c:pt>
                <c:pt idx="55">
                  <c:v>41.663654509491082</c:v>
                </c:pt>
                <c:pt idx="56">
                  <c:v>43.241165801526819</c:v>
                </c:pt>
                <c:pt idx="57">
                  <c:v>44.822060991816642</c:v>
                </c:pt>
                <c:pt idx="58">
                  <c:v>46.409313630168128</c:v>
                </c:pt>
                <c:pt idx="59">
                  <c:v>47.996906387492487</c:v>
                </c:pt>
                <c:pt idx="60">
                  <c:v>49.606070885497815</c:v>
                </c:pt>
                <c:pt idx="61">
                  <c:v>51.20096923619559</c:v>
                </c:pt>
                <c:pt idx="62">
                  <c:v>52.779998405556952</c:v>
                </c:pt>
                <c:pt idx="63">
                  <c:v>54.349906980958416</c:v>
                </c:pt>
                <c:pt idx="64">
                  <c:v>55.915470940604536</c:v>
                </c:pt>
                <c:pt idx="65">
                  <c:v>57.449126833420564</c:v>
                </c:pt>
                <c:pt idx="66">
                  <c:v>58.949401100860456</c:v>
                </c:pt>
                <c:pt idx="67">
                  <c:v>60.419466266462834</c:v>
                </c:pt>
                <c:pt idx="68">
                  <c:v>61.855803341693303</c:v>
                </c:pt>
                <c:pt idx="69">
                  <c:v>63.250496352291449</c:v>
                </c:pt>
                <c:pt idx="70">
                  <c:v>64.596053515232938</c:v>
                </c:pt>
                <c:pt idx="71">
                  <c:v>65.894221809966865</c:v>
                </c:pt>
                <c:pt idx="72">
                  <c:v>67.131733998602996</c:v>
                </c:pt>
                <c:pt idx="73">
                  <c:v>68.30377754416331</c:v>
                </c:pt>
                <c:pt idx="74">
                  <c:v>69.401094209303878</c:v>
                </c:pt>
                <c:pt idx="75">
                  <c:v>70.42539050381626</c:v>
                </c:pt>
                <c:pt idx="76">
                  <c:v>71.372138027202823</c:v>
                </c:pt>
                <c:pt idx="77">
                  <c:v>72.23681543183551</c:v>
                </c:pt>
                <c:pt idx="78">
                  <c:v>73.013534796921135</c:v>
                </c:pt>
                <c:pt idx="79">
                  <c:v>73.697374335931499</c:v>
                </c:pt>
                <c:pt idx="80">
                  <c:v>74.286948407171224</c:v>
                </c:pt>
                <c:pt idx="81">
                  <c:v>74.780126966196335</c:v>
                </c:pt>
                <c:pt idx="82">
                  <c:v>75.174490440941483</c:v>
                </c:pt>
                <c:pt idx="83">
                  <c:v>75.467690169312419</c:v>
                </c:pt>
                <c:pt idx="84">
                  <c:v>75.658857720911982</c:v>
                </c:pt>
                <c:pt idx="85">
                  <c:v>75.747479547536003</c:v>
                </c:pt>
                <c:pt idx="86">
                  <c:v>75.733520689555888</c:v>
                </c:pt>
                <c:pt idx="87">
                  <c:v>75.617203463942673</c:v>
                </c:pt>
                <c:pt idx="88">
                  <c:v>75.399510322712743</c:v>
                </c:pt>
                <c:pt idx="89">
                  <c:v>75.081716822915993</c:v>
                </c:pt>
                <c:pt idx="90">
                  <c:v>74.665447215373561</c:v>
                </c:pt>
                <c:pt idx="91">
                  <c:v>74.152965825648835</c:v>
                </c:pt>
                <c:pt idx="92">
                  <c:v>73.547064895941915</c:v>
                </c:pt>
                <c:pt idx="93">
                  <c:v>72.850843404784058</c:v>
                </c:pt>
                <c:pt idx="94">
                  <c:v>72.067714901547816</c:v>
                </c:pt>
                <c:pt idx="95">
                  <c:v>71.201451430208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chart" Target="../charts/chart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chart" Target="../charts/chart10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chart" Target="../charts/chart1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chart" Target="../charts/chart12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chart" Target="../charts/chart13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chart" Target="../charts/chart14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chart" Target="../charts/chart1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7.xml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chart" Target="../charts/chart1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chart" Target="../charts/chart17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chart" Target="../charts/chart18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chart" Target="../charts/chart19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8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chart" Target="../charts/chart2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chart" Target="../charts/chart21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chart" Target="../charts/chart22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8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chart" Target="../charts/chart23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chart" Target="../charts/chart24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8.xml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chart" Target="../charts/chart2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chart" Target="../charts/chart2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8.xml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chart" Target="../charts/chart27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8.xml"/><Relationship Id="rId10" Type="http://schemas.openxmlformats.org/officeDocument/2006/relationships/tags" Target="../tags/tag273.xm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chart" Target="../charts/char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chart" Target="../charts/chart28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8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chart" Target="../charts/chart29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8.xml"/><Relationship Id="rId10" Type="http://schemas.openxmlformats.org/officeDocument/2006/relationships/tags" Target="../tags/tag293.xml"/><Relationship Id="rId4" Type="http://schemas.openxmlformats.org/officeDocument/2006/relationships/tags" Target="../tags/tag287.xml"/><Relationship Id="rId9" Type="http://schemas.openxmlformats.org/officeDocument/2006/relationships/tags" Target="../tags/tag29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3" Type="http://schemas.openxmlformats.org/officeDocument/2006/relationships/tags" Target="../tags/tag296.xml"/><Relationship Id="rId7" Type="http://schemas.openxmlformats.org/officeDocument/2006/relationships/tags" Target="../tags/tag300.xml"/><Relationship Id="rId12" Type="http://schemas.openxmlformats.org/officeDocument/2006/relationships/chart" Target="../charts/chart30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8.xml"/><Relationship Id="rId10" Type="http://schemas.openxmlformats.org/officeDocument/2006/relationships/tags" Target="../tags/tag303.xml"/><Relationship Id="rId4" Type="http://schemas.openxmlformats.org/officeDocument/2006/relationships/tags" Target="../tags/tag297.xml"/><Relationship Id="rId9" Type="http://schemas.openxmlformats.org/officeDocument/2006/relationships/tags" Target="../tags/tag30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chart" Target="../charts/chart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chart" Target="../charts/chart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chart" Target="../charts/chart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chart" Target="../charts/chart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chart" Target="../charts/chart7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chart" Target="../charts/chart8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3507454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389264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820629E3-506F-404F-B973-DC465F6D85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51975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DA4EAD8-4535-4BE4-AD87-65DE2E16A58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9B5E06D-6EE5-4023-824C-3D0A2099ACA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ABA640B-FD42-45EA-959B-568FB19ECAC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B738D3DF-6123-46A9-983A-FF74DFFE50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D330B42-09BC-4075-8B1D-CB6444A31F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230DDE06-0218-4CD5-B7A1-02D9665BD4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0B5C0143-429A-4F82-9701-DF10369C572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FF0CA95-1E90-4ADC-AE13-5172C0D6683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66A22789-D149-4D74-A887-ECE01940F0A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681621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254209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80ABBE1C-B87D-4797-B8B5-79773EBA48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111847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96C81BB2-6C01-4C6E-837F-2A148665821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2BD64910-DCFE-4CE7-B0FC-D112A8A013D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C5AB750F-CDA8-4292-923A-CFEA19F034B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6DCCCA29-CF1F-4193-A469-915EF3844A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EE37838B-2068-4AE7-9C01-A8BB5286A6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6ECC1D7-B903-4AAF-AE3B-96E60027C5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EFC0074B-E744-4583-856B-862E1A8550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7C28AA1-B8A5-4B5A-850D-8DE26A10EF9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BF79AC0-9A4D-4237-90DF-FE28F5DF01C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063243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747268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1AD3657-D823-4610-9234-88E580C30B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8740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9" name="TextBox 9">
            <a:extLst>
              <a:ext uri="{FF2B5EF4-FFF2-40B4-BE49-F238E27FC236}">
                <a16:creationId xmlns:a16="http://schemas.microsoft.com/office/drawing/2014/main" id="{52E4B58F-8883-4E1B-AEFC-F8B4B3942FF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2DCB18B5-62CF-49C8-A6D0-1BD2762F119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1" name="Skupina 30">
              <a:extLst>
                <a:ext uri="{FF2B5EF4-FFF2-40B4-BE49-F238E27FC236}">
                  <a16:creationId xmlns:a16="http://schemas.microsoft.com/office/drawing/2014/main" id="{0C4C06FF-BAD0-498E-88EB-26DFD0C302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702C9597-6B40-4AE5-AA96-39C46DCBA7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47B6DFB1-D073-49F1-80B8-DB2BBA74EC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53C0690-33A9-4A6E-9138-2FAAA431583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4436437F-1152-4598-90E9-0DF2B4D9A2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A4AA320-0012-49BB-A556-83365BAA40E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2C191459-DD63-4A78-9C4B-5D7811025C2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772916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715352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FD66F36-42D9-4A65-9F47-59D207F445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235672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4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61201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965639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B69077D-5B15-4012-B1CF-99D8C692A9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517713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8CDA08CB-7E8C-4838-8C10-E766CE75771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39448A4-F4FD-4F0C-A203-553C9F91305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ACAE5CD-9AB0-4CE0-9CC1-5DAC69CB173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4D6C0542-9C25-436B-A326-9F12042F17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BB3785C5-01E7-40E6-B28C-0F412792FF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C27F091-05F9-48B3-89B0-9C8DC9E2189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C46367B5-0BA4-48F4-899C-C8130832CF9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B59ED72-5450-43AA-9E26-02766F6138E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6D2FB046-FA28-418A-A906-7C05E44379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5796706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343753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A28E63B-C25B-4A91-ABF6-2353FC7E16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08243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1DD803E5-B4E3-46C3-8A31-2D647B9DD27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C99652A-4D79-4ECB-8530-BE2191CC8A9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FC32BD59-36A1-4332-B5C2-7D976F2B06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EAEAEF84-9240-4163-8050-7D5A0B0E8E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34F66578-BE90-41BA-BD99-FFF85F46FF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443B36A4-0798-4F29-84AE-13A985C367F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8F79AC02-4BE8-4FC2-A887-1DE46B8DA8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5ABDBA0-F035-4141-9016-F2D6084232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19B76B44-A9C7-442D-A042-75A6575FBA3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697225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144630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805F98F5-594C-4D33-8850-9528274E7F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01286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CBA91600-8E02-4564-BC8C-C2F17F05E92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59FF964-6330-4593-AF59-CF8EFCAE09D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DF40AF4-E53C-4ED9-A248-F5B92AF9B89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7CA0BC52-D789-4C6B-B297-8D84A3E7EE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16F4D0D2-3B47-4D8D-BD24-8F88679A1E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BED15094-61D0-4A35-AAF9-319C75D4A25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AAE3BE80-9157-4869-9C71-326674153EA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3AA324A-98FE-4D4C-A15B-FA0E0708797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95FDEE0D-400A-4659-9C59-F89051CABAB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40352913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5301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707406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F5E0772-A25D-490E-963A-82339D0EF2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E6C5BD4-45B1-476C-B7F7-ACBE2C3C3C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A54661-C594-4960-93AF-8882DE08070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35729AB8-B43C-4F93-AF35-B778CF39E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86FD4463-9B7D-45B8-A532-E748F343CE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0E583A33-A25D-4321-B49B-37CBF1EC50B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2E898C2B-199F-424A-9205-04F27F14052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B7913C7-D1F2-4000-8689-2BA61BA4A6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286734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906014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0E6826C-AB7E-4E48-A2F1-F65D1C43B59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FD663DA4-747F-4C80-9168-ED3A83723C2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0CC9231-BFF2-46EE-9ED9-A7BE38FB74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8476A96-D10F-479C-8188-8090D4DA32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91D12DF4-007C-4E2B-AAA6-0169865F28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D6FFDEDD-4A82-4F6A-89CB-59E0356F7E3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F13418F-4AA1-4F93-9E9D-DA9A5193A6E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ACA91AE-4040-4381-B8B6-A164B802491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142109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12988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1382A19F-BE89-485B-953F-686D03C65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443723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6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711145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408338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2AA9549C-3395-473A-9E40-A30A430455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098014CD-06B7-4FC0-BD93-06EAA0C7A0B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4126DB6-909E-41FF-8C0D-A944D8DE355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F725247-42E2-4071-BA4B-5D97617AD3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EF1BD3AE-BFCB-4F1B-96E0-DE7E34FDDF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7E3973A-A051-431E-866C-128BFDDDBEB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6DAC85E-1FEC-4B63-B197-A04C7621E46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B4D1FF3-46F0-4B19-A7A7-9E0412E332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469357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985379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C5BF605-F8B1-4698-B1C4-D3B38408AE3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2EC0A99-6958-459A-8188-F2E280A365F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E5EFB4D3-2098-4B6C-B740-52E8D469712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4F69E01-F452-4A72-AF72-66C8015355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CB5A9CE6-C1F1-4821-B321-B847C2CB5B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0981A92-F059-4723-BFD5-CDCF41ED2D2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D5FEE686-F37F-40B7-BC80-7CB7352775B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AF8BDBB-B16A-41A7-8D64-D6DB8D0EED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591950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86725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6F11C75-C2E6-4249-9B5D-438401F71E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605EC92-EF05-47EF-9EB8-2BCAC28D1E2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75118A2-461E-4CC1-9C39-8139654DDD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2DD4D49-ADC7-47D6-A23A-B37115A35A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2EDCF41E-9CBC-41DA-94D9-BE9DAC272D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301D4FB-1B2F-484C-84EC-6B123BDB46E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0A26E23-769F-4C9F-A762-2125EC06CE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B1865E9-E8AA-4C65-929E-F6DFFB433DB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60026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804725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1A8377D-575B-4B43-913D-DF2292D20AF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43BD107-423A-430B-8436-649AA734420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ECAE3C6F-D54F-43B7-B663-765E6E8CCBB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089E4023-6621-4462-982C-04ACD4048F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62EB572-0672-4A81-997D-A8E1BD6BE9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1759C323-1AB8-487A-9B6F-39B6D3F9C0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15E7D79F-E916-47C6-8969-DD35128BC47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BBBB578-FEE9-4B11-9092-D7A05EF978C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058012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826817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619AFECB-7B1D-435E-B2C3-13CA9804D31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0ED25E0-4C5E-4FBF-BDA0-1F78B619698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9D0E8A-9FA7-4CDA-82B6-923037EF7190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608EBA0-1A04-4B82-ABFE-30665D1FC6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14AC9647-47A1-4507-B93B-3C03586EA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681B5C-93D1-470D-9DB3-7E750184A50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F1808E7-6885-47D8-A2CC-7A1A38E8B80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22BAF86-794F-4575-AF78-5BF07D3E6F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837016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56237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CF0F3F4-4AFC-48C6-B9B2-307BD1637EB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745C8CA-1B07-44E7-A352-DA2C4BBDAE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B2AD5366-10C9-4BD6-AFC7-6DADC14700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1DDA1AD-4FFF-4455-9028-DEA59259C0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6ADF3D5D-C342-47CF-9606-C1F6D03F0D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B9636A8-C5CC-4F3C-BB6E-76B6950C576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549F917-44CF-4F6D-AD25-46CF694DAAC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52D55E7-89C4-46E9-96FA-082DBB778AE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75876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458215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47F33E3-65A4-45E0-AED9-CD3EA4F8EC9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1B75F25E-9BB7-44D4-A7A1-035BF830979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9BD8669-9615-48FD-B1B9-3B01058CDF33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6F7AC97-CC3F-4919-BB21-38FB82CE5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04A3858-740A-41A0-A49E-6D80D01B51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043652C8-13D7-4AC1-AD21-864320CF6DA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7620605-C242-48DF-B5D0-7299E52BF98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6ED825D-0BE6-4131-BCEF-F0A490857AE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060575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56266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774EDA2C-121C-4CBF-AD66-B95C4B4BEFB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2A641DD-25C0-4472-8091-5B1D6E8345B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AABF4670-D52D-469B-A959-140446D97A5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2FB5900-362F-4879-8492-009989B416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409C3786-9DAF-451B-834B-7B7D0F8584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7B6490-C572-4BDA-9CEC-A4F5078F8FA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4B2F1B73-DCC3-48C0-BFAA-9A298696DE3B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691ED68-4233-45B7-A5C4-AC7F6F7468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977398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854556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1AA3BA-83A1-4A73-8D22-33789AFED6B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A6DB236-335D-4F54-9520-A29F56BBEBB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17381AA3-8179-4E2E-9788-E7F538386D7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3931598-93D4-4AC9-85D0-01B4ACC111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BA73D01-C755-4B29-9490-90915C3E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3D5BE03B-A05C-4283-947F-4E6071E71DD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F740E1C-D44D-45E9-A06B-9CCCD737769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BBCBE33B-16B6-4C9B-B43D-C37C812070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593309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509041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50F521E-05D5-4920-AAD5-D6FF1942427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0E59F30-9223-4C4A-815B-69F61AEF01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5C929992-00F5-438F-90D7-7C5C30C91BF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9063CE5-8BB3-479F-83B5-D7E4EC4AFC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E7CF96A-E09B-4BD9-B15C-1EE350A941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F7AFE67-187F-4BF0-B8BA-F1F1CAF76BF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6F3A3B5C-ED51-4EAF-9B0E-BA10128A639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0AC9E55-1AB2-472D-853E-F135F64078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719049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069240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723CBBA-0C1A-4165-9B4C-DF79B08866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86155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2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9680759-4220-4FA8-94F2-5E1BB73350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7844C14-4B18-4D0F-829C-2A3FECA8AEE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0A88E7C-6EFC-40D6-8AE7-2C376186C90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4387C07-E7D3-4C9F-9541-B3891753E3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3D3161CE-A937-428D-B746-3C6A7C4E64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A2C0B6A-2D73-4557-BE88-0601D740F37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D43D3A77-51CE-4988-9AE2-F6000706CDF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3FBB783-85B7-4670-BA32-031557B65B4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E5CB50B9-65A3-4EAE-90FE-3506F8A9AB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4145804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069103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29F9F81-EE2E-46A8-A3D0-9544CE6E3B2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C3152C6-4E24-4892-A71F-1ABA065A583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0614EE21-7227-4E42-8931-A64299E61FE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12F573CB-AD3A-4E7B-8A85-7EEC135F12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04366B42-6188-4E0D-AF87-87CF92EFE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EBDF3EB-8CA3-46EB-8708-D05FF9F1BE2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618413F-A2A0-4EB1-8BBF-F3BCBB49F5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810E9BF-41E5-45D2-821F-169DE4B8EB7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592875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352433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02F44491-B51E-4114-9296-2F1B73D2C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099D3C6-BF99-4CCA-8233-17397AAD0AF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A271B92-B75C-4D2D-9639-44135C12DAE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E52A91E3-DF13-461F-B0AC-235D03094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ABBABFFA-0961-4B68-BFB2-978D04634F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50D9F8A-9CC5-4DA2-BF4E-EA1D509306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8D652CE-3B4B-440E-B83E-E7C051DBA7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ABAD116-07CF-41FB-8B39-E67C9E2688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410500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066207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5A50ABD-3D0D-4F42-98D7-D88760F187B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80FD9B1-49D5-42F5-B4B4-1A25E3418DA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2C9BF365-00FE-475B-98D1-1AF393F7DAA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54EB8C2-23F3-4731-95A0-8EC67D8CBA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F6DBED55-4307-42C5-BA07-7258672939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7800F533-788C-40F5-8495-FEA4AA6ABF7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B8130F25-7596-4F34-AA71-B092AF9BFEC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33969CE-23FA-4AA8-94B1-D9E2D9D65F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12931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961149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3B618CD2-9DFB-4FFC-A448-E42516BA67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947959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BE68559-8F00-4036-ABC9-F64435F1B8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4E21654-D415-48EC-8156-6E85810BE10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EEFE2C78-786E-47A1-9CA9-F10D75050FA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4552FEA-D753-4105-9381-3DE56D3301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1C173FF8-0C6D-4482-A7DB-F4EA661237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C547764-5442-441F-986C-673416F459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531F128B-0095-4A87-94A8-2B95AD94CC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9A89CE4-6E05-44C5-A9D5-3EDA39597D4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C944C999-10E3-4003-89D0-28F281E061F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84363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928741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7CA1F27-4B51-473B-B4D4-8863119DE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28948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A1387E2-8A92-48BA-9999-74DEDDC335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90AF2DB-DDD7-4214-AA90-35460D51C19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94A59FF-0FF1-40FA-A06D-09D6388C59E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882AB7F7-6637-415F-AEC8-26BD6B380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A85F12B9-F212-4BC1-8161-9E7C5188A6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3DEB781-34E3-4668-BBC2-6AD474788B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E9628856-C0E2-49D5-83A7-2895784E024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E9A255E-22AB-4190-AF9D-F375CE69A28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DB7C8514-7543-4D6C-8C41-4B789E78EA8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531070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176709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1F78092-946E-45D7-84B3-A472CE1990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024919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C3D5138-7443-427B-85E3-09212D251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80361FE-9036-4F08-A62B-BC4B019DABD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078D5396-CFDA-4B85-B43A-DF63A53EA68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6AF81B5-AA49-4B43-B2AA-4EF38EFEA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845B78C-B141-4CD6-9CEF-3943FFBD9B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9875B78-30B3-4304-8C88-8C1AA68339D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3AD6E297-494C-4300-960B-354999653D5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1C1594-D77B-4CA8-BC73-79A1687A63A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A970CF94-1400-4CDE-983E-7D3C07B5B2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9184036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151056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2B83DEC-F8AF-472E-AEBB-0729BC24D6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61873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20807A8-509F-4A6C-BC5C-0D267B2D580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64866A4-CD7C-49BF-92CD-1A8ECDFF86F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4CFBC01-723A-400A-A74D-940BA301BAD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1F9DBFF1-754D-402E-9390-2F9E1B91D5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7DD68FB-974E-4F0F-AC8F-FB3DF78D9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7AD488C4-1566-4AFD-8968-EF230D2E331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706C8541-2945-4BF7-9A59-C6CA1CC2851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43AD9C8-4F69-43EA-99CD-D89F9F5DFAC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9" name="TextBox 14">
            <a:extLst>
              <a:ext uri="{FF2B5EF4-FFF2-40B4-BE49-F238E27FC236}">
                <a16:creationId xmlns:a16="http://schemas.microsoft.com/office/drawing/2014/main" id="{41FE2E42-4BC5-42AA-86C2-0F13F90D3C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223608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316336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279B5C33-A05A-43BF-831A-AC1739EBA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79240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8BC50ED-8A2D-4885-A662-839165A2988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64C33C8-8363-469B-8A37-CC13393E525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116A5F4-CB56-4E44-B5C2-26753C2F4FF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20F4541-FFA6-4496-8BC7-8765EE1516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1AE16C7-9693-42B1-B4D8-F428D86C72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7B278ED-7508-4378-BB67-05FA2B3C28C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67DAD0D8-C807-4DF7-96F5-41100BD54D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46CC21E-737B-472E-A3A9-C1B6973EEF4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4A636343-78EB-483E-9899-00871B33F35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849301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521937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AEAB7595-81D3-4B6E-B5F1-0B9DB407C3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4655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3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E662C74-0D53-4C72-A1A5-195BC077F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C61E22C-7ED9-43F5-9EAA-AE5C63C1CC2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D9B8351-AAF5-4962-858A-A342526FCD4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65DFC254-371D-4C39-AB10-BC9DBAFE0A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614B4195-6A55-4340-8C52-D0354B027C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AE0F6F7-39F5-40AE-AD43-795967C5DC8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9EAA645F-A0DD-49F7-A7A2-41EA858B7B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6D6F968-2BC4-43B1-B658-3B272892612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25251DC3-2EE8-47D4-89FE-1C3E747C359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403391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4</TotalTime>
  <Words>3545</Words>
  <Application>Microsoft Office PowerPoint</Application>
  <PresentationFormat>Širokoúhlá obrazovka</PresentationFormat>
  <Paragraphs>844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Pohlová Radka Mgr.</cp:lastModifiedBy>
  <cp:revision>393</cp:revision>
  <dcterms:created xsi:type="dcterms:W3CDTF">2021-03-07T17:05:03Z</dcterms:created>
  <dcterms:modified xsi:type="dcterms:W3CDTF">2021-11-21T18:45:35Z</dcterms:modified>
</cp:coreProperties>
</file>